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tags/tag2.xml" ContentType="application/vnd.openxmlformats-officedocument.presentationml.tags+xml"/>
  <Override PartName="/ppt/notesSlides/notesSlide31.xml" ContentType="application/vnd.openxmlformats-officedocument.presentationml.notesSlide+xml"/>
  <Override PartName="/ppt/tags/tag3.xml" ContentType="application/vnd.openxmlformats-officedocument.presentationml.tags+xml"/>
  <Override PartName="/ppt/notesSlides/notesSlide32.xml" ContentType="application/vnd.openxmlformats-officedocument.presentationml.notesSlide+xml"/>
  <Override PartName="/ppt/tags/tag4.xml" ContentType="application/vnd.openxmlformats-officedocument.presentationml.tags+xml"/>
  <Override PartName="/ppt/notesSlides/notesSlide33.xml" ContentType="application/vnd.openxmlformats-officedocument.presentationml.notesSlide+xml"/>
  <Override PartName="/ppt/tags/tag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86" r:id="rId1"/>
  </p:sldMasterIdLst>
  <p:notesMasterIdLst>
    <p:notesMasterId r:id="rId46"/>
  </p:notesMasterIdLst>
  <p:sldIdLst>
    <p:sldId id="2147472568" r:id="rId2"/>
    <p:sldId id="257" r:id="rId3"/>
    <p:sldId id="2147472572" r:id="rId4"/>
    <p:sldId id="778" r:id="rId5"/>
    <p:sldId id="2147472633" r:id="rId6"/>
    <p:sldId id="2147472605" r:id="rId7"/>
    <p:sldId id="2147472606" r:id="rId8"/>
    <p:sldId id="2147472593" r:id="rId9"/>
    <p:sldId id="2147472650" r:id="rId10"/>
    <p:sldId id="270" r:id="rId11"/>
    <p:sldId id="271" r:id="rId12"/>
    <p:sldId id="291" r:id="rId13"/>
    <p:sldId id="292" r:id="rId14"/>
    <p:sldId id="293" r:id="rId15"/>
    <p:sldId id="294" r:id="rId16"/>
    <p:sldId id="297" r:id="rId17"/>
    <p:sldId id="298" r:id="rId18"/>
    <p:sldId id="299" r:id="rId19"/>
    <p:sldId id="300" r:id="rId20"/>
    <p:sldId id="301" r:id="rId21"/>
    <p:sldId id="2147472651" r:id="rId22"/>
    <p:sldId id="267" r:id="rId23"/>
    <p:sldId id="2147472652" r:id="rId24"/>
    <p:sldId id="2147472653" r:id="rId25"/>
    <p:sldId id="2147472654" r:id="rId26"/>
    <p:sldId id="272" r:id="rId27"/>
    <p:sldId id="273" r:id="rId28"/>
    <p:sldId id="274" r:id="rId29"/>
    <p:sldId id="275" r:id="rId30"/>
    <p:sldId id="2147472655" r:id="rId31"/>
    <p:sldId id="2147472656" r:id="rId32"/>
    <p:sldId id="2147472657" r:id="rId33"/>
    <p:sldId id="2147472658" r:id="rId34"/>
    <p:sldId id="2147472659" r:id="rId35"/>
    <p:sldId id="276" r:id="rId36"/>
    <p:sldId id="2147472631" r:id="rId37"/>
    <p:sldId id="2147472660" r:id="rId38"/>
    <p:sldId id="284" r:id="rId39"/>
    <p:sldId id="560" r:id="rId40"/>
    <p:sldId id="543" r:id="rId41"/>
    <p:sldId id="544" r:id="rId42"/>
    <p:sldId id="545" r:id="rId43"/>
    <p:sldId id="546" r:id="rId44"/>
    <p:sldId id="269" r:id="rId45"/>
  </p:sldIdLst>
  <p:sldSz cx="9144000" cy="5143500" type="screen16x9"/>
  <p:notesSz cx="6858000" cy="9144000"/>
  <p:embeddedFontLst>
    <p:embeddedFont>
      <p:font typeface="Helvetica Neue Light" panose="020B0604020202020204" charset="0"/>
      <p:regular r:id="rId47"/>
      <p:bold r:id="rId48"/>
      <p:italic r:id="rId49"/>
      <p:boldItalic r:id="rId50"/>
    </p:embeddedFont>
    <p:embeddedFont>
      <p:font typeface="Montserrat" panose="00000500000000000000" pitchFamily="2" charset="0"/>
      <p:regular r:id="rId51"/>
      <p:bold r:id="rId52"/>
      <p:italic r:id="rId53"/>
      <p:boldItalic r:id="rId54"/>
    </p:embeddedFont>
    <p:embeddedFont>
      <p:font typeface="Montserrat Medium" panose="00000600000000000000" pitchFamily="2" charset="0"/>
      <p:regular r:id="rId55"/>
      <p:bold r:id="rId56"/>
      <p:italic r:id="rId57"/>
      <p:boldItalic r:id="rId58"/>
    </p:embeddedFont>
    <p:embeddedFont>
      <p:font typeface="Tahoma" panose="020B0604030504040204" pitchFamily="34" charset="0"/>
      <p:regular r:id="rId59"/>
      <p:bold r:id="rId60"/>
    </p:embeddedFont>
    <p:embeddedFont>
      <p:font typeface="Trebuchet MS" panose="020B0603020202020204" pitchFamily="34" charset="0"/>
      <p:regular r:id="rId61"/>
      <p:bold r:id="rId62"/>
      <p:italic r:id="rId63"/>
      <p:boldItalic r:id="rId6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46" autoAdjust="0"/>
    <p:restoredTop sz="69888" autoAdjust="0"/>
  </p:normalViewPr>
  <p:slideViewPr>
    <p:cSldViewPr snapToGrid="0">
      <p:cViewPr varScale="1">
        <p:scale>
          <a:sx n="97" d="100"/>
          <a:sy n="97" d="100"/>
        </p:scale>
        <p:origin x="2148" y="306"/>
      </p:cViewPr>
      <p:guideLst>
        <p:guide orient="horz" pos="162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font" Target="fonts/font1.fntdata"/><Relationship Id="rId50" Type="http://schemas.openxmlformats.org/officeDocument/2006/relationships/font" Target="fonts/font4.fntdata"/><Relationship Id="rId55" Type="http://schemas.openxmlformats.org/officeDocument/2006/relationships/font" Target="fonts/font9.fntdata"/><Relationship Id="rId63" Type="http://schemas.openxmlformats.org/officeDocument/2006/relationships/font" Target="fonts/font17.fntdata"/><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7.fntdata"/><Relationship Id="rId58" Type="http://schemas.openxmlformats.org/officeDocument/2006/relationships/font" Target="fonts/font12.fntdata"/><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3.fntdata"/><Relationship Id="rId57" Type="http://schemas.openxmlformats.org/officeDocument/2006/relationships/font" Target="fonts/font11.fntdata"/><Relationship Id="rId61" Type="http://schemas.openxmlformats.org/officeDocument/2006/relationships/font" Target="fonts/font1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6.fntdata"/><Relationship Id="rId60" Type="http://schemas.openxmlformats.org/officeDocument/2006/relationships/font" Target="fonts/font14.fntdata"/><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font" Target="fonts/font2.fntdata"/><Relationship Id="rId56" Type="http://schemas.openxmlformats.org/officeDocument/2006/relationships/font" Target="fonts/font10.fntdata"/><Relationship Id="rId64" Type="http://schemas.openxmlformats.org/officeDocument/2006/relationships/font" Target="fonts/font18.fntdata"/><Relationship Id="rId8" Type="http://schemas.openxmlformats.org/officeDocument/2006/relationships/slide" Target="slides/slide7.xml"/><Relationship Id="rId51" Type="http://schemas.openxmlformats.org/officeDocument/2006/relationships/font" Target="fonts/font5.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59" Type="http://schemas.openxmlformats.org/officeDocument/2006/relationships/font" Target="fonts/font13.fntdata"/><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8.fntdata"/><Relationship Id="rId62" Type="http://schemas.openxmlformats.org/officeDocument/2006/relationships/font" Target="fonts/font16.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191DD7-D598-4C7A-9920-44ECD71CC5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5BF0B4D-8BAD-4977-8042-B0239252D929}">
      <dgm:prSet phldrT="[Text]" custT="1"/>
      <dgm:spPr/>
      <dgm:t>
        <a:bodyPr/>
        <a:lstStyle/>
        <a:p>
          <a:r>
            <a:rPr lang="en-US" sz="1200" dirty="0"/>
            <a:t>Kanban</a:t>
          </a:r>
        </a:p>
      </dgm:t>
    </dgm:pt>
    <dgm:pt modelId="{987A6968-428F-4855-88BC-649FB517D6C6}" type="parTrans" cxnId="{531E685B-C5AF-42B5-852E-E553F700AB7D}">
      <dgm:prSet/>
      <dgm:spPr/>
      <dgm:t>
        <a:bodyPr/>
        <a:lstStyle/>
        <a:p>
          <a:endParaRPr lang="en-US" sz="1200"/>
        </a:p>
      </dgm:t>
    </dgm:pt>
    <dgm:pt modelId="{853F5E12-68C3-46A7-AD61-D41845190242}" type="sibTrans" cxnId="{531E685B-C5AF-42B5-852E-E553F700AB7D}">
      <dgm:prSet/>
      <dgm:spPr/>
      <dgm:t>
        <a:bodyPr/>
        <a:lstStyle/>
        <a:p>
          <a:endParaRPr lang="en-US" sz="1200"/>
        </a:p>
      </dgm:t>
    </dgm:pt>
    <dgm:pt modelId="{3DEB3D70-36A0-4DD5-B2B4-FEE109C6BEEF}">
      <dgm:prSet phldrT="[Text]" custT="1"/>
      <dgm:spPr/>
      <dgm:t>
        <a:bodyPr/>
        <a:lstStyle/>
        <a:p>
          <a:r>
            <a:rPr lang="en-US" sz="1200" dirty="0"/>
            <a:t>Uses visual boards to view &amp; organize tasks</a:t>
          </a:r>
        </a:p>
      </dgm:t>
    </dgm:pt>
    <dgm:pt modelId="{699FC01A-27EF-40BD-9323-CD3962103FC9}" type="parTrans" cxnId="{2F110922-C37E-4062-A27E-CA5C7835B5A8}">
      <dgm:prSet/>
      <dgm:spPr/>
      <dgm:t>
        <a:bodyPr/>
        <a:lstStyle/>
        <a:p>
          <a:endParaRPr lang="en-US" sz="1200"/>
        </a:p>
      </dgm:t>
    </dgm:pt>
    <dgm:pt modelId="{8B8AC99B-CE0D-4ECD-9784-5A9A3D2C164A}" type="sibTrans" cxnId="{2F110922-C37E-4062-A27E-CA5C7835B5A8}">
      <dgm:prSet/>
      <dgm:spPr/>
      <dgm:t>
        <a:bodyPr/>
        <a:lstStyle/>
        <a:p>
          <a:endParaRPr lang="en-US" sz="1200"/>
        </a:p>
      </dgm:t>
    </dgm:pt>
    <dgm:pt modelId="{AE913F4C-5C5A-4AA1-AB9E-3CEF2B706286}">
      <dgm:prSet phldrT="[Text]" custT="1"/>
      <dgm:spPr/>
      <dgm:t>
        <a:bodyPr/>
        <a:lstStyle/>
        <a:p>
          <a:r>
            <a:rPr lang="en-US" sz="1200" dirty="0"/>
            <a:t>Uses elements of “just in time” lean manufacturing strategies</a:t>
          </a:r>
        </a:p>
      </dgm:t>
    </dgm:pt>
    <dgm:pt modelId="{DAF0B9A7-06BD-4C9C-84C0-5367CCB22366}" type="parTrans" cxnId="{86616DEC-54CA-427D-96E2-81162A0E336D}">
      <dgm:prSet/>
      <dgm:spPr/>
      <dgm:t>
        <a:bodyPr/>
        <a:lstStyle/>
        <a:p>
          <a:endParaRPr lang="en-US" sz="1200"/>
        </a:p>
      </dgm:t>
    </dgm:pt>
    <dgm:pt modelId="{BE0522F8-A71A-482C-850E-A8F6795EB11D}" type="sibTrans" cxnId="{86616DEC-54CA-427D-96E2-81162A0E336D}">
      <dgm:prSet/>
      <dgm:spPr/>
      <dgm:t>
        <a:bodyPr/>
        <a:lstStyle/>
        <a:p>
          <a:endParaRPr lang="en-US" sz="1200"/>
        </a:p>
      </dgm:t>
    </dgm:pt>
    <dgm:pt modelId="{08F46ECF-E902-428C-B917-E0006E15F9C9}">
      <dgm:prSet phldrT="[Text]" custT="1"/>
      <dgm:spPr/>
      <dgm:t>
        <a:bodyPr/>
        <a:lstStyle/>
        <a:p>
          <a:r>
            <a:rPr lang="en-US" sz="1200" dirty="0"/>
            <a:t>Scrum</a:t>
          </a:r>
        </a:p>
      </dgm:t>
    </dgm:pt>
    <dgm:pt modelId="{DE6E1E81-323F-4EDA-9635-C2110ABF6939}" type="parTrans" cxnId="{CC785978-4BD9-41C6-82AE-97677CA93FAE}">
      <dgm:prSet/>
      <dgm:spPr/>
      <dgm:t>
        <a:bodyPr/>
        <a:lstStyle/>
        <a:p>
          <a:endParaRPr lang="en-US" sz="1200"/>
        </a:p>
      </dgm:t>
    </dgm:pt>
    <dgm:pt modelId="{68E8025E-5117-4E6A-AA8D-EFC11224F3B3}" type="sibTrans" cxnId="{CC785978-4BD9-41C6-82AE-97677CA93FAE}">
      <dgm:prSet/>
      <dgm:spPr/>
      <dgm:t>
        <a:bodyPr/>
        <a:lstStyle/>
        <a:p>
          <a:endParaRPr lang="en-US" sz="1200"/>
        </a:p>
      </dgm:t>
    </dgm:pt>
    <dgm:pt modelId="{ED3DAF4C-66E4-4A2A-9479-D3021C4F9F14}">
      <dgm:prSet phldrT="[Text]" custT="1"/>
      <dgm:spPr/>
      <dgm:t>
        <a:bodyPr/>
        <a:lstStyle/>
        <a:p>
          <a:r>
            <a:rPr lang="en-US" sz="1200" dirty="0"/>
            <a:t>Aligns closely with Agile values</a:t>
          </a:r>
        </a:p>
      </dgm:t>
    </dgm:pt>
    <dgm:pt modelId="{0CC9935C-3A56-476D-B6E5-6235F0B8CD79}" type="parTrans" cxnId="{EE27A771-2ADD-4FC6-98BF-4E1775577D08}">
      <dgm:prSet/>
      <dgm:spPr/>
      <dgm:t>
        <a:bodyPr/>
        <a:lstStyle/>
        <a:p>
          <a:endParaRPr lang="en-US" sz="1200"/>
        </a:p>
      </dgm:t>
    </dgm:pt>
    <dgm:pt modelId="{5928DCE8-94C1-4616-9B63-E3626B8B2577}" type="sibTrans" cxnId="{EE27A771-2ADD-4FC6-98BF-4E1775577D08}">
      <dgm:prSet/>
      <dgm:spPr/>
      <dgm:t>
        <a:bodyPr/>
        <a:lstStyle/>
        <a:p>
          <a:endParaRPr lang="en-US" sz="1200"/>
        </a:p>
      </dgm:t>
    </dgm:pt>
    <dgm:pt modelId="{B474907A-8FE3-495B-8C68-87DF60287AB3}">
      <dgm:prSet phldrT="[Text]" custT="1"/>
      <dgm:spPr/>
      <dgm:t>
        <a:bodyPr/>
        <a:lstStyle/>
        <a:p>
          <a:r>
            <a:rPr lang="en-US" sz="1200" dirty="0"/>
            <a:t>Breaks down product development into iterative sprints</a:t>
          </a:r>
        </a:p>
      </dgm:t>
    </dgm:pt>
    <dgm:pt modelId="{291CBFCF-1D0C-4CA3-9378-7D8FE6FCF586}" type="parTrans" cxnId="{55D961E7-B156-4FBD-B603-9F9DDAA73089}">
      <dgm:prSet/>
      <dgm:spPr/>
      <dgm:t>
        <a:bodyPr/>
        <a:lstStyle/>
        <a:p>
          <a:endParaRPr lang="en-US" sz="1200"/>
        </a:p>
      </dgm:t>
    </dgm:pt>
    <dgm:pt modelId="{1A8218B6-9434-4900-AA79-8E819C2BE8AB}" type="sibTrans" cxnId="{55D961E7-B156-4FBD-B603-9F9DDAA73089}">
      <dgm:prSet/>
      <dgm:spPr/>
      <dgm:t>
        <a:bodyPr/>
        <a:lstStyle/>
        <a:p>
          <a:endParaRPr lang="en-US" sz="1200"/>
        </a:p>
      </dgm:t>
    </dgm:pt>
    <dgm:pt modelId="{53588020-65EB-4576-94FA-2C5B86E8BC46}">
      <dgm:prSet phldrT="[Text]" custT="1"/>
      <dgm:spPr/>
      <dgm:t>
        <a:bodyPr/>
        <a:lstStyle/>
        <a:p>
          <a:r>
            <a:rPr lang="en-US" sz="1200" dirty="0"/>
            <a:t>Scaled Agile Framework (</a:t>
          </a:r>
          <a:r>
            <a:rPr lang="en-US" sz="1200" dirty="0" err="1"/>
            <a:t>SAFe</a:t>
          </a:r>
          <a:r>
            <a:rPr lang="en-US" sz="1200" dirty="0"/>
            <a:t>)</a:t>
          </a:r>
        </a:p>
      </dgm:t>
    </dgm:pt>
    <dgm:pt modelId="{87EC5CF3-A053-40C3-873D-01A30A3C346E}" type="parTrans" cxnId="{26EEFC11-BD95-4D38-B6E6-BB17F5FA442E}">
      <dgm:prSet/>
      <dgm:spPr/>
      <dgm:t>
        <a:bodyPr/>
        <a:lstStyle/>
        <a:p>
          <a:endParaRPr lang="en-US" sz="1200"/>
        </a:p>
      </dgm:t>
    </dgm:pt>
    <dgm:pt modelId="{96A076D5-D990-48DF-9847-5F1BA85D26F4}" type="sibTrans" cxnId="{26EEFC11-BD95-4D38-B6E6-BB17F5FA442E}">
      <dgm:prSet/>
      <dgm:spPr/>
      <dgm:t>
        <a:bodyPr/>
        <a:lstStyle/>
        <a:p>
          <a:endParaRPr lang="en-US" sz="1200"/>
        </a:p>
      </dgm:t>
    </dgm:pt>
    <dgm:pt modelId="{77C5B4AB-10DD-4C75-96CD-1CD363AA4C84}">
      <dgm:prSet phldrT="[Text]" custT="1"/>
      <dgm:spPr/>
      <dgm:t>
        <a:bodyPr/>
        <a:lstStyle/>
        <a:p>
          <a:r>
            <a:rPr lang="en-US" sz="1200" dirty="0"/>
            <a:t>Workflow and organizational patterns to help deploy Agile at scale</a:t>
          </a:r>
        </a:p>
      </dgm:t>
    </dgm:pt>
    <dgm:pt modelId="{79684128-789F-4548-A69A-5E724F9966FA}" type="parTrans" cxnId="{D88A72C2-67ED-4287-9E04-9B666FADC112}">
      <dgm:prSet/>
      <dgm:spPr/>
      <dgm:t>
        <a:bodyPr/>
        <a:lstStyle/>
        <a:p>
          <a:endParaRPr lang="en-US" sz="1200"/>
        </a:p>
      </dgm:t>
    </dgm:pt>
    <dgm:pt modelId="{5EEBF1CA-3503-4402-BAFB-CE997F4368D1}" type="sibTrans" cxnId="{D88A72C2-67ED-4287-9E04-9B666FADC112}">
      <dgm:prSet/>
      <dgm:spPr/>
      <dgm:t>
        <a:bodyPr/>
        <a:lstStyle/>
        <a:p>
          <a:endParaRPr lang="en-US" sz="1200"/>
        </a:p>
      </dgm:t>
    </dgm:pt>
    <dgm:pt modelId="{5A97292F-2A01-435E-AA30-3A0D580A9F65}">
      <dgm:prSet phldrT="[Text]" custT="1"/>
      <dgm:spPr/>
      <dgm:t>
        <a:bodyPr/>
        <a:lstStyle/>
        <a:p>
          <a:r>
            <a:rPr lang="en-US" sz="1200" dirty="0"/>
            <a:t>Can support large organizations</a:t>
          </a:r>
        </a:p>
      </dgm:t>
    </dgm:pt>
    <dgm:pt modelId="{B55BC2A0-F852-4A77-A501-2E0172B5ABBE}" type="parTrans" cxnId="{6F703EA5-3341-4471-A6E1-B3190F1E5039}">
      <dgm:prSet/>
      <dgm:spPr/>
      <dgm:t>
        <a:bodyPr/>
        <a:lstStyle/>
        <a:p>
          <a:endParaRPr lang="en-US" sz="1200"/>
        </a:p>
      </dgm:t>
    </dgm:pt>
    <dgm:pt modelId="{2D82AD5A-4B33-402C-A9A0-0293C55F3CE9}" type="sibTrans" cxnId="{6F703EA5-3341-4471-A6E1-B3190F1E5039}">
      <dgm:prSet/>
      <dgm:spPr/>
      <dgm:t>
        <a:bodyPr/>
        <a:lstStyle/>
        <a:p>
          <a:endParaRPr lang="en-US" sz="1200"/>
        </a:p>
      </dgm:t>
    </dgm:pt>
    <dgm:pt modelId="{2B6C8B17-E6E5-4BB3-B3ED-B7BF403FDBAB}">
      <dgm:prSet phldrT="[Text]" custT="1"/>
      <dgm:spPr/>
      <dgm:t>
        <a:bodyPr/>
        <a:lstStyle/>
        <a:p>
          <a:r>
            <a:rPr lang="en-US" sz="1200" dirty="0"/>
            <a:t>Emphasizes throughput</a:t>
          </a:r>
        </a:p>
      </dgm:t>
    </dgm:pt>
    <dgm:pt modelId="{E5A4B355-5847-4416-B325-B55F5B1C583B}" type="parTrans" cxnId="{A72C427A-3CA4-4E77-A28C-9C9BC91A6FB2}">
      <dgm:prSet/>
      <dgm:spPr/>
      <dgm:t>
        <a:bodyPr/>
        <a:lstStyle/>
        <a:p>
          <a:endParaRPr lang="en-US" sz="1200"/>
        </a:p>
      </dgm:t>
    </dgm:pt>
    <dgm:pt modelId="{CE3FD79C-9AF8-44CA-9B2B-C5A561F51D60}" type="sibTrans" cxnId="{A72C427A-3CA4-4E77-A28C-9C9BC91A6FB2}">
      <dgm:prSet/>
      <dgm:spPr/>
      <dgm:t>
        <a:bodyPr/>
        <a:lstStyle/>
        <a:p>
          <a:endParaRPr lang="en-US" sz="1200"/>
        </a:p>
      </dgm:t>
    </dgm:pt>
    <dgm:pt modelId="{2D7934BF-FA38-436D-AF15-48A65CAA2B39}">
      <dgm:prSet phldrT="[Text]" custT="1"/>
      <dgm:spPr/>
      <dgm:t>
        <a:bodyPr/>
        <a:lstStyle/>
        <a:p>
          <a:r>
            <a:rPr lang="en-US" sz="1200" dirty="0"/>
            <a:t>Makes use of exclusive roles (“Scrum Lead”, “Product Owner”)</a:t>
          </a:r>
        </a:p>
      </dgm:t>
    </dgm:pt>
    <dgm:pt modelId="{2B3AA808-2174-4B23-9301-7F43A2F468BC}" type="parTrans" cxnId="{8C74FCC7-F8C4-487C-AA19-F25B3C6D596F}">
      <dgm:prSet/>
      <dgm:spPr/>
      <dgm:t>
        <a:bodyPr/>
        <a:lstStyle/>
        <a:p>
          <a:endParaRPr lang="en-US" sz="1200"/>
        </a:p>
      </dgm:t>
    </dgm:pt>
    <dgm:pt modelId="{E89480EB-A617-44A2-B41E-72D2497D21B7}" type="sibTrans" cxnId="{8C74FCC7-F8C4-487C-AA19-F25B3C6D596F}">
      <dgm:prSet/>
      <dgm:spPr/>
      <dgm:t>
        <a:bodyPr/>
        <a:lstStyle/>
        <a:p>
          <a:endParaRPr lang="en-US" sz="1200"/>
        </a:p>
      </dgm:t>
    </dgm:pt>
    <dgm:pt modelId="{434FD60E-978B-4785-A68E-9D8C88C395E5}">
      <dgm:prSet phldrT="[Text]" custT="1"/>
      <dgm:spPr/>
      <dgm:t>
        <a:bodyPr/>
        <a:lstStyle/>
        <a:p>
          <a:r>
            <a:rPr lang="en-US" sz="1200" dirty="0"/>
            <a:t>Emphasizes constant communication</a:t>
          </a:r>
        </a:p>
      </dgm:t>
    </dgm:pt>
    <dgm:pt modelId="{D4D7A259-F332-4F1D-99B8-6846ECE86FE3}" type="parTrans" cxnId="{1F019A3D-333F-4759-9C98-29F374055CD5}">
      <dgm:prSet/>
      <dgm:spPr/>
      <dgm:t>
        <a:bodyPr/>
        <a:lstStyle/>
        <a:p>
          <a:endParaRPr lang="en-US" sz="1200"/>
        </a:p>
      </dgm:t>
    </dgm:pt>
    <dgm:pt modelId="{C325F96B-8A6F-4713-A92C-ADDAE9CDA724}" type="sibTrans" cxnId="{1F019A3D-333F-4759-9C98-29F374055CD5}">
      <dgm:prSet/>
      <dgm:spPr/>
      <dgm:t>
        <a:bodyPr/>
        <a:lstStyle/>
        <a:p>
          <a:endParaRPr lang="en-US" sz="1200"/>
        </a:p>
      </dgm:t>
    </dgm:pt>
    <dgm:pt modelId="{AE467730-8523-4352-B03A-1FE6E38AABD5}" type="pres">
      <dgm:prSet presAssocID="{AA191DD7-D598-4C7A-9920-44ECD71CC540}" presName="Name0" presStyleCnt="0">
        <dgm:presLayoutVars>
          <dgm:dir/>
          <dgm:animLvl val="lvl"/>
          <dgm:resizeHandles val="exact"/>
        </dgm:presLayoutVars>
      </dgm:prSet>
      <dgm:spPr/>
    </dgm:pt>
    <dgm:pt modelId="{F066DFDC-15E6-4737-8C4A-A2CE04F14468}" type="pres">
      <dgm:prSet presAssocID="{65BF0B4D-8BAD-4977-8042-B0239252D929}" presName="composite" presStyleCnt="0"/>
      <dgm:spPr/>
    </dgm:pt>
    <dgm:pt modelId="{14CDA8C8-F9BC-433A-966F-23477E10F030}" type="pres">
      <dgm:prSet presAssocID="{65BF0B4D-8BAD-4977-8042-B0239252D929}" presName="parTx" presStyleLbl="alignNode1" presStyleIdx="0" presStyleCnt="3">
        <dgm:presLayoutVars>
          <dgm:chMax val="0"/>
          <dgm:chPref val="0"/>
          <dgm:bulletEnabled val="1"/>
        </dgm:presLayoutVars>
      </dgm:prSet>
      <dgm:spPr/>
    </dgm:pt>
    <dgm:pt modelId="{BEA2A8A1-9156-426B-A46E-B0C78252E5DF}" type="pres">
      <dgm:prSet presAssocID="{65BF0B4D-8BAD-4977-8042-B0239252D929}" presName="desTx" presStyleLbl="alignAccFollowNode1" presStyleIdx="0" presStyleCnt="3">
        <dgm:presLayoutVars>
          <dgm:bulletEnabled val="1"/>
        </dgm:presLayoutVars>
      </dgm:prSet>
      <dgm:spPr/>
    </dgm:pt>
    <dgm:pt modelId="{17104468-B443-4685-9751-D72C5F6875B8}" type="pres">
      <dgm:prSet presAssocID="{853F5E12-68C3-46A7-AD61-D41845190242}" presName="space" presStyleCnt="0"/>
      <dgm:spPr/>
    </dgm:pt>
    <dgm:pt modelId="{779A66BC-C881-4067-9F7D-8C5205FC131C}" type="pres">
      <dgm:prSet presAssocID="{08F46ECF-E902-428C-B917-E0006E15F9C9}" presName="composite" presStyleCnt="0"/>
      <dgm:spPr/>
    </dgm:pt>
    <dgm:pt modelId="{07688B4B-D4AF-46F4-8D15-A964E0CEF5F9}" type="pres">
      <dgm:prSet presAssocID="{08F46ECF-E902-428C-B917-E0006E15F9C9}" presName="parTx" presStyleLbl="alignNode1" presStyleIdx="1" presStyleCnt="3">
        <dgm:presLayoutVars>
          <dgm:chMax val="0"/>
          <dgm:chPref val="0"/>
          <dgm:bulletEnabled val="1"/>
        </dgm:presLayoutVars>
      </dgm:prSet>
      <dgm:spPr/>
    </dgm:pt>
    <dgm:pt modelId="{EC709DB5-C4EC-420C-BF2A-6DFC58FACE14}" type="pres">
      <dgm:prSet presAssocID="{08F46ECF-E902-428C-B917-E0006E15F9C9}" presName="desTx" presStyleLbl="alignAccFollowNode1" presStyleIdx="1" presStyleCnt="3">
        <dgm:presLayoutVars>
          <dgm:bulletEnabled val="1"/>
        </dgm:presLayoutVars>
      </dgm:prSet>
      <dgm:spPr/>
    </dgm:pt>
    <dgm:pt modelId="{297A63D2-0E97-428A-88F4-CB5F43DF14DB}" type="pres">
      <dgm:prSet presAssocID="{68E8025E-5117-4E6A-AA8D-EFC11224F3B3}" presName="space" presStyleCnt="0"/>
      <dgm:spPr/>
    </dgm:pt>
    <dgm:pt modelId="{0ABDDF9C-3010-44CA-8902-5C87F45B12EB}" type="pres">
      <dgm:prSet presAssocID="{53588020-65EB-4576-94FA-2C5B86E8BC46}" presName="composite" presStyleCnt="0"/>
      <dgm:spPr/>
    </dgm:pt>
    <dgm:pt modelId="{EDE83CE2-7BE0-454F-A606-C92B7AAC426F}" type="pres">
      <dgm:prSet presAssocID="{53588020-65EB-4576-94FA-2C5B86E8BC46}" presName="parTx" presStyleLbl="alignNode1" presStyleIdx="2" presStyleCnt="3">
        <dgm:presLayoutVars>
          <dgm:chMax val="0"/>
          <dgm:chPref val="0"/>
          <dgm:bulletEnabled val="1"/>
        </dgm:presLayoutVars>
      </dgm:prSet>
      <dgm:spPr/>
    </dgm:pt>
    <dgm:pt modelId="{30B4261D-5A4A-406C-A941-441C21C03922}" type="pres">
      <dgm:prSet presAssocID="{53588020-65EB-4576-94FA-2C5B86E8BC46}" presName="desTx" presStyleLbl="alignAccFollowNode1" presStyleIdx="2" presStyleCnt="3">
        <dgm:presLayoutVars>
          <dgm:bulletEnabled val="1"/>
        </dgm:presLayoutVars>
      </dgm:prSet>
      <dgm:spPr/>
    </dgm:pt>
  </dgm:ptLst>
  <dgm:cxnLst>
    <dgm:cxn modelId="{B55C3805-B70E-4622-AEC9-74A597AE2AEF}" type="presOf" srcId="{434FD60E-978B-4785-A68E-9D8C88C395E5}" destId="{EC709DB5-C4EC-420C-BF2A-6DFC58FACE14}" srcOrd="0" destOrd="3" presId="urn:microsoft.com/office/officeart/2005/8/layout/hList1"/>
    <dgm:cxn modelId="{26EEFC11-BD95-4D38-B6E6-BB17F5FA442E}" srcId="{AA191DD7-D598-4C7A-9920-44ECD71CC540}" destId="{53588020-65EB-4576-94FA-2C5B86E8BC46}" srcOrd="2" destOrd="0" parTransId="{87EC5CF3-A053-40C3-873D-01A30A3C346E}" sibTransId="{96A076D5-D990-48DF-9847-5F1BA85D26F4}"/>
    <dgm:cxn modelId="{2F110922-C37E-4062-A27E-CA5C7835B5A8}" srcId="{65BF0B4D-8BAD-4977-8042-B0239252D929}" destId="{3DEB3D70-36A0-4DD5-B2B4-FEE109C6BEEF}" srcOrd="0" destOrd="0" parTransId="{699FC01A-27EF-40BD-9323-CD3962103FC9}" sibTransId="{8B8AC99B-CE0D-4ECD-9784-5A9A3D2C164A}"/>
    <dgm:cxn modelId="{E15D6525-31F3-4F10-AB4A-337C68BE1B4A}" type="presOf" srcId="{53588020-65EB-4576-94FA-2C5B86E8BC46}" destId="{EDE83CE2-7BE0-454F-A606-C92B7AAC426F}" srcOrd="0" destOrd="0" presId="urn:microsoft.com/office/officeart/2005/8/layout/hList1"/>
    <dgm:cxn modelId="{5BB3F92C-428C-421C-9E15-411D7C1ACEA2}" type="presOf" srcId="{77C5B4AB-10DD-4C75-96CD-1CD363AA4C84}" destId="{30B4261D-5A4A-406C-A941-441C21C03922}" srcOrd="0" destOrd="0" presId="urn:microsoft.com/office/officeart/2005/8/layout/hList1"/>
    <dgm:cxn modelId="{1FB1B52F-D086-4528-8796-D68E703D9D63}" type="presOf" srcId="{65BF0B4D-8BAD-4977-8042-B0239252D929}" destId="{14CDA8C8-F9BC-433A-966F-23477E10F030}" srcOrd="0" destOrd="0" presId="urn:microsoft.com/office/officeart/2005/8/layout/hList1"/>
    <dgm:cxn modelId="{C3945737-FC64-4421-8909-69308CC8F9BA}" type="presOf" srcId="{3DEB3D70-36A0-4DD5-B2B4-FEE109C6BEEF}" destId="{BEA2A8A1-9156-426B-A46E-B0C78252E5DF}" srcOrd="0" destOrd="0" presId="urn:microsoft.com/office/officeart/2005/8/layout/hList1"/>
    <dgm:cxn modelId="{1F019A3D-333F-4759-9C98-29F374055CD5}" srcId="{08F46ECF-E902-428C-B917-E0006E15F9C9}" destId="{434FD60E-978B-4785-A68E-9D8C88C395E5}" srcOrd="3" destOrd="0" parTransId="{D4D7A259-F332-4F1D-99B8-6846ECE86FE3}" sibTransId="{C325F96B-8A6F-4713-A92C-ADDAE9CDA724}"/>
    <dgm:cxn modelId="{531E685B-C5AF-42B5-852E-E553F700AB7D}" srcId="{AA191DD7-D598-4C7A-9920-44ECD71CC540}" destId="{65BF0B4D-8BAD-4977-8042-B0239252D929}" srcOrd="0" destOrd="0" parTransId="{987A6968-428F-4855-88BC-649FB517D6C6}" sibTransId="{853F5E12-68C3-46A7-AD61-D41845190242}"/>
    <dgm:cxn modelId="{EE27A771-2ADD-4FC6-98BF-4E1775577D08}" srcId="{08F46ECF-E902-428C-B917-E0006E15F9C9}" destId="{ED3DAF4C-66E4-4A2A-9479-D3021C4F9F14}" srcOrd="0" destOrd="0" parTransId="{0CC9935C-3A56-476D-B6E5-6235F0B8CD79}" sibTransId="{5928DCE8-94C1-4616-9B63-E3626B8B2577}"/>
    <dgm:cxn modelId="{CC785978-4BD9-41C6-82AE-97677CA93FAE}" srcId="{AA191DD7-D598-4C7A-9920-44ECD71CC540}" destId="{08F46ECF-E902-428C-B917-E0006E15F9C9}" srcOrd="1" destOrd="0" parTransId="{DE6E1E81-323F-4EDA-9635-C2110ABF6939}" sibTransId="{68E8025E-5117-4E6A-AA8D-EFC11224F3B3}"/>
    <dgm:cxn modelId="{A72C427A-3CA4-4E77-A28C-9C9BC91A6FB2}" srcId="{65BF0B4D-8BAD-4977-8042-B0239252D929}" destId="{2B6C8B17-E6E5-4BB3-B3ED-B7BF403FDBAB}" srcOrd="2" destOrd="0" parTransId="{E5A4B355-5847-4416-B325-B55F5B1C583B}" sibTransId="{CE3FD79C-9AF8-44CA-9B2B-C5A561F51D60}"/>
    <dgm:cxn modelId="{5E973A90-9266-465E-98DC-2100F31E51ED}" type="presOf" srcId="{B474907A-8FE3-495B-8C68-87DF60287AB3}" destId="{EC709DB5-C4EC-420C-BF2A-6DFC58FACE14}" srcOrd="0" destOrd="1" presId="urn:microsoft.com/office/officeart/2005/8/layout/hList1"/>
    <dgm:cxn modelId="{97E45FA4-8964-4343-B70D-5A5A668D8A1B}" type="presOf" srcId="{5A97292F-2A01-435E-AA30-3A0D580A9F65}" destId="{30B4261D-5A4A-406C-A941-441C21C03922}" srcOrd="0" destOrd="1" presId="urn:microsoft.com/office/officeart/2005/8/layout/hList1"/>
    <dgm:cxn modelId="{6F703EA5-3341-4471-A6E1-B3190F1E5039}" srcId="{53588020-65EB-4576-94FA-2C5B86E8BC46}" destId="{5A97292F-2A01-435E-AA30-3A0D580A9F65}" srcOrd="1" destOrd="0" parTransId="{B55BC2A0-F852-4A77-A501-2E0172B5ABBE}" sibTransId="{2D82AD5A-4B33-402C-A9A0-0293C55F3CE9}"/>
    <dgm:cxn modelId="{750ACDA5-0F0E-42DB-99C9-CD32760424B5}" type="presOf" srcId="{AE913F4C-5C5A-4AA1-AB9E-3CEF2B706286}" destId="{BEA2A8A1-9156-426B-A46E-B0C78252E5DF}" srcOrd="0" destOrd="1" presId="urn:microsoft.com/office/officeart/2005/8/layout/hList1"/>
    <dgm:cxn modelId="{4B6400B7-BDF2-4C6E-AE05-012DD4235DDA}" type="presOf" srcId="{ED3DAF4C-66E4-4A2A-9479-D3021C4F9F14}" destId="{EC709DB5-C4EC-420C-BF2A-6DFC58FACE14}" srcOrd="0" destOrd="0" presId="urn:microsoft.com/office/officeart/2005/8/layout/hList1"/>
    <dgm:cxn modelId="{B4FA7ABC-BA9E-4AE5-B104-BA716486E68D}" type="presOf" srcId="{2D7934BF-FA38-436D-AF15-48A65CAA2B39}" destId="{EC709DB5-C4EC-420C-BF2A-6DFC58FACE14}" srcOrd="0" destOrd="2" presId="urn:microsoft.com/office/officeart/2005/8/layout/hList1"/>
    <dgm:cxn modelId="{D88A72C2-67ED-4287-9E04-9B666FADC112}" srcId="{53588020-65EB-4576-94FA-2C5B86E8BC46}" destId="{77C5B4AB-10DD-4C75-96CD-1CD363AA4C84}" srcOrd="0" destOrd="0" parTransId="{79684128-789F-4548-A69A-5E724F9966FA}" sibTransId="{5EEBF1CA-3503-4402-BAFB-CE997F4368D1}"/>
    <dgm:cxn modelId="{8C74FCC7-F8C4-487C-AA19-F25B3C6D596F}" srcId="{08F46ECF-E902-428C-B917-E0006E15F9C9}" destId="{2D7934BF-FA38-436D-AF15-48A65CAA2B39}" srcOrd="2" destOrd="0" parTransId="{2B3AA808-2174-4B23-9301-7F43A2F468BC}" sibTransId="{E89480EB-A617-44A2-B41E-72D2497D21B7}"/>
    <dgm:cxn modelId="{3453F7DC-9DFD-4F16-BED4-099C82793931}" type="presOf" srcId="{08F46ECF-E902-428C-B917-E0006E15F9C9}" destId="{07688B4B-D4AF-46F4-8D15-A964E0CEF5F9}" srcOrd="0" destOrd="0" presId="urn:microsoft.com/office/officeart/2005/8/layout/hList1"/>
    <dgm:cxn modelId="{25501CE4-AA07-41BB-A3E4-774582F71519}" type="presOf" srcId="{AA191DD7-D598-4C7A-9920-44ECD71CC540}" destId="{AE467730-8523-4352-B03A-1FE6E38AABD5}" srcOrd="0" destOrd="0" presId="urn:microsoft.com/office/officeart/2005/8/layout/hList1"/>
    <dgm:cxn modelId="{E0A4E0E6-D307-4551-922D-BC6B92568214}" type="presOf" srcId="{2B6C8B17-E6E5-4BB3-B3ED-B7BF403FDBAB}" destId="{BEA2A8A1-9156-426B-A46E-B0C78252E5DF}" srcOrd="0" destOrd="2" presId="urn:microsoft.com/office/officeart/2005/8/layout/hList1"/>
    <dgm:cxn modelId="{55D961E7-B156-4FBD-B603-9F9DDAA73089}" srcId="{08F46ECF-E902-428C-B917-E0006E15F9C9}" destId="{B474907A-8FE3-495B-8C68-87DF60287AB3}" srcOrd="1" destOrd="0" parTransId="{291CBFCF-1D0C-4CA3-9378-7D8FE6FCF586}" sibTransId="{1A8218B6-9434-4900-AA79-8E819C2BE8AB}"/>
    <dgm:cxn modelId="{86616DEC-54CA-427D-96E2-81162A0E336D}" srcId="{65BF0B4D-8BAD-4977-8042-B0239252D929}" destId="{AE913F4C-5C5A-4AA1-AB9E-3CEF2B706286}" srcOrd="1" destOrd="0" parTransId="{DAF0B9A7-06BD-4C9C-84C0-5367CCB22366}" sibTransId="{BE0522F8-A71A-482C-850E-A8F6795EB11D}"/>
    <dgm:cxn modelId="{52D7CF0A-7E66-4BCF-975E-FFFFE3FD3B9F}" type="presParOf" srcId="{AE467730-8523-4352-B03A-1FE6E38AABD5}" destId="{F066DFDC-15E6-4737-8C4A-A2CE04F14468}" srcOrd="0" destOrd="0" presId="urn:microsoft.com/office/officeart/2005/8/layout/hList1"/>
    <dgm:cxn modelId="{A8123165-E68B-48BB-B7C8-CDAC68F0890C}" type="presParOf" srcId="{F066DFDC-15E6-4737-8C4A-A2CE04F14468}" destId="{14CDA8C8-F9BC-433A-966F-23477E10F030}" srcOrd="0" destOrd="0" presId="urn:microsoft.com/office/officeart/2005/8/layout/hList1"/>
    <dgm:cxn modelId="{8AE806A8-DD6A-4567-8F1F-D236B1C51F76}" type="presParOf" srcId="{F066DFDC-15E6-4737-8C4A-A2CE04F14468}" destId="{BEA2A8A1-9156-426B-A46E-B0C78252E5DF}" srcOrd="1" destOrd="0" presId="urn:microsoft.com/office/officeart/2005/8/layout/hList1"/>
    <dgm:cxn modelId="{874CC3E1-C03F-4E5A-88F6-C4798A7C5D02}" type="presParOf" srcId="{AE467730-8523-4352-B03A-1FE6E38AABD5}" destId="{17104468-B443-4685-9751-D72C5F6875B8}" srcOrd="1" destOrd="0" presId="urn:microsoft.com/office/officeart/2005/8/layout/hList1"/>
    <dgm:cxn modelId="{E3D1D178-BFC6-4531-9749-FE9CA775F1B3}" type="presParOf" srcId="{AE467730-8523-4352-B03A-1FE6E38AABD5}" destId="{779A66BC-C881-4067-9F7D-8C5205FC131C}" srcOrd="2" destOrd="0" presId="urn:microsoft.com/office/officeart/2005/8/layout/hList1"/>
    <dgm:cxn modelId="{911DDB95-C2F5-49C3-BE4C-70C067088D7C}" type="presParOf" srcId="{779A66BC-C881-4067-9F7D-8C5205FC131C}" destId="{07688B4B-D4AF-46F4-8D15-A964E0CEF5F9}" srcOrd="0" destOrd="0" presId="urn:microsoft.com/office/officeart/2005/8/layout/hList1"/>
    <dgm:cxn modelId="{A03F8CEC-DC2E-4E41-BDF9-689C1F685255}" type="presParOf" srcId="{779A66BC-C881-4067-9F7D-8C5205FC131C}" destId="{EC709DB5-C4EC-420C-BF2A-6DFC58FACE14}" srcOrd="1" destOrd="0" presId="urn:microsoft.com/office/officeart/2005/8/layout/hList1"/>
    <dgm:cxn modelId="{D673A3D3-F728-47CA-A859-6F4637EB5559}" type="presParOf" srcId="{AE467730-8523-4352-B03A-1FE6E38AABD5}" destId="{297A63D2-0E97-428A-88F4-CB5F43DF14DB}" srcOrd="3" destOrd="0" presId="urn:microsoft.com/office/officeart/2005/8/layout/hList1"/>
    <dgm:cxn modelId="{DB1E4589-3891-49C2-9CCA-0865F702718E}" type="presParOf" srcId="{AE467730-8523-4352-B03A-1FE6E38AABD5}" destId="{0ABDDF9C-3010-44CA-8902-5C87F45B12EB}" srcOrd="4" destOrd="0" presId="urn:microsoft.com/office/officeart/2005/8/layout/hList1"/>
    <dgm:cxn modelId="{65B01FDA-CCCE-4A4C-BCA9-4116A089A4CB}" type="presParOf" srcId="{0ABDDF9C-3010-44CA-8902-5C87F45B12EB}" destId="{EDE83CE2-7BE0-454F-A606-C92B7AAC426F}" srcOrd="0" destOrd="0" presId="urn:microsoft.com/office/officeart/2005/8/layout/hList1"/>
    <dgm:cxn modelId="{86F2DF49-3C25-4A77-83BA-D8448C596121}" type="presParOf" srcId="{0ABDDF9C-3010-44CA-8902-5C87F45B12EB}" destId="{30B4261D-5A4A-406C-A941-441C21C039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DA8C8-F9BC-433A-966F-23477E10F030}">
      <dsp:nvSpPr>
        <dsp:cNvPr id="0" name=""/>
        <dsp:cNvSpPr/>
      </dsp:nvSpPr>
      <dsp:spPr>
        <a:xfrm>
          <a:off x="1598"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Kanban</a:t>
          </a:r>
        </a:p>
      </dsp:txBody>
      <dsp:txXfrm>
        <a:off x="1598" y="14593"/>
        <a:ext cx="1558265" cy="489600"/>
      </dsp:txXfrm>
    </dsp:sp>
    <dsp:sp modelId="{BEA2A8A1-9156-426B-A46E-B0C78252E5DF}">
      <dsp:nvSpPr>
        <dsp:cNvPr id="0" name=""/>
        <dsp:cNvSpPr/>
      </dsp:nvSpPr>
      <dsp:spPr>
        <a:xfrm>
          <a:off x="1598"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Uses visual boards to view &amp; organize tasks</a:t>
          </a:r>
        </a:p>
        <a:p>
          <a:pPr marL="114300" lvl="1" indent="-114300" algn="l" defTabSz="533400">
            <a:lnSpc>
              <a:spcPct val="90000"/>
            </a:lnSpc>
            <a:spcBef>
              <a:spcPct val="0"/>
            </a:spcBef>
            <a:spcAft>
              <a:spcPct val="15000"/>
            </a:spcAft>
            <a:buChar char="•"/>
          </a:pPr>
          <a:r>
            <a:rPr lang="en-US" sz="1200" kern="1200" dirty="0"/>
            <a:t>Uses elements of “just in time” lean manufacturing strategies</a:t>
          </a:r>
        </a:p>
        <a:p>
          <a:pPr marL="114300" lvl="1" indent="-114300" algn="l" defTabSz="533400">
            <a:lnSpc>
              <a:spcPct val="90000"/>
            </a:lnSpc>
            <a:spcBef>
              <a:spcPct val="0"/>
            </a:spcBef>
            <a:spcAft>
              <a:spcPct val="15000"/>
            </a:spcAft>
            <a:buChar char="•"/>
          </a:pPr>
          <a:r>
            <a:rPr lang="en-US" sz="1200" kern="1200" dirty="0"/>
            <a:t>Emphasizes throughput</a:t>
          </a:r>
        </a:p>
      </dsp:txBody>
      <dsp:txXfrm>
        <a:off x="1598" y="504193"/>
        <a:ext cx="1558265" cy="2296792"/>
      </dsp:txXfrm>
    </dsp:sp>
    <dsp:sp modelId="{07688B4B-D4AF-46F4-8D15-A964E0CEF5F9}">
      <dsp:nvSpPr>
        <dsp:cNvPr id="0" name=""/>
        <dsp:cNvSpPr/>
      </dsp:nvSpPr>
      <dsp:spPr>
        <a:xfrm>
          <a:off x="1778020"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rum</a:t>
          </a:r>
        </a:p>
      </dsp:txBody>
      <dsp:txXfrm>
        <a:off x="1778020" y="14593"/>
        <a:ext cx="1558265" cy="489600"/>
      </dsp:txXfrm>
    </dsp:sp>
    <dsp:sp modelId="{EC709DB5-C4EC-420C-BF2A-6DFC58FACE14}">
      <dsp:nvSpPr>
        <dsp:cNvPr id="0" name=""/>
        <dsp:cNvSpPr/>
      </dsp:nvSpPr>
      <dsp:spPr>
        <a:xfrm>
          <a:off x="1778020"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ligns closely with Agile values</a:t>
          </a:r>
        </a:p>
        <a:p>
          <a:pPr marL="114300" lvl="1" indent="-114300" algn="l" defTabSz="533400">
            <a:lnSpc>
              <a:spcPct val="90000"/>
            </a:lnSpc>
            <a:spcBef>
              <a:spcPct val="0"/>
            </a:spcBef>
            <a:spcAft>
              <a:spcPct val="15000"/>
            </a:spcAft>
            <a:buChar char="•"/>
          </a:pPr>
          <a:r>
            <a:rPr lang="en-US" sz="1200" kern="1200" dirty="0"/>
            <a:t>Breaks down product development into iterative sprints</a:t>
          </a:r>
        </a:p>
        <a:p>
          <a:pPr marL="114300" lvl="1" indent="-114300" algn="l" defTabSz="533400">
            <a:lnSpc>
              <a:spcPct val="90000"/>
            </a:lnSpc>
            <a:spcBef>
              <a:spcPct val="0"/>
            </a:spcBef>
            <a:spcAft>
              <a:spcPct val="15000"/>
            </a:spcAft>
            <a:buChar char="•"/>
          </a:pPr>
          <a:r>
            <a:rPr lang="en-US" sz="1200" kern="1200" dirty="0"/>
            <a:t>Makes use of exclusive roles (“Scrum Lead”, “Product Owner”)</a:t>
          </a:r>
        </a:p>
        <a:p>
          <a:pPr marL="114300" lvl="1" indent="-114300" algn="l" defTabSz="533400">
            <a:lnSpc>
              <a:spcPct val="90000"/>
            </a:lnSpc>
            <a:spcBef>
              <a:spcPct val="0"/>
            </a:spcBef>
            <a:spcAft>
              <a:spcPct val="15000"/>
            </a:spcAft>
            <a:buChar char="•"/>
          </a:pPr>
          <a:r>
            <a:rPr lang="en-US" sz="1200" kern="1200" dirty="0"/>
            <a:t>Emphasizes constant communication</a:t>
          </a:r>
        </a:p>
      </dsp:txBody>
      <dsp:txXfrm>
        <a:off x="1778020" y="504193"/>
        <a:ext cx="1558265" cy="2296792"/>
      </dsp:txXfrm>
    </dsp:sp>
    <dsp:sp modelId="{EDE83CE2-7BE0-454F-A606-C92B7AAC426F}">
      <dsp:nvSpPr>
        <dsp:cNvPr id="0" name=""/>
        <dsp:cNvSpPr/>
      </dsp:nvSpPr>
      <dsp:spPr>
        <a:xfrm>
          <a:off x="3554442"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aled Agile Framework (</a:t>
          </a:r>
          <a:r>
            <a:rPr lang="en-US" sz="1200" kern="1200" dirty="0" err="1"/>
            <a:t>SAFe</a:t>
          </a:r>
          <a:r>
            <a:rPr lang="en-US" sz="1200" kern="1200" dirty="0"/>
            <a:t>)</a:t>
          </a:r>
        </a:p>
      </dsp:txBody>
      <dsp:txXfrm>
        <a:off x="3554442" y="14593"/>
        <a:ext cx="1558265" cy="489600"/>
      </dsp:txXfrm>
    </dsp:sp>
    <dsp:sp modelId="{30B4261D-5A4A-406C-A941-441C21C03922}">
      <dsp:nvSpPr>
        <dsp:cNvPr id="0" name=""/>
        <dsp:cNvSpPr/>
      </dsp:nvSpPr>
      <dsp:spPr>
        <a:xfrm>
          <a:off x="3554442"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Workflow and organizational patterns to help deploy Agile at scale</a:t>
          </a:r>
        </a:p>
        <a:p>
          <a:pPr marL="114300" lvl="1" indent="-114300" algn="l" defTabSz="533400">
            <a:lnSpc>
              <a:spcPct val="90000"/>
            </a:lnSpc>
            <a:spcBef>
              <a:spcPct val="0"/>
            </a:spcBef>
            <a:spcAft>
              <a:spcPct val="15000"/>
            </a:spcAft>
            <a:buChar char="•"/>
          </a:pPr>
          <a:r>
            <a:rPr lang="en-US" sz="1200" kern="1200" dirty="0"/>
            <a:t>Can support large organizations</a:t>
          </a:r>
        </a:p>
      </dsp:txBody>
      <dsp:txXfrm>
        <a:off x="3554442" y="504193"/>
        <a:ext cx="1558265" cy="229679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5" name="Google Shape;225;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74" name="Google Shape;374;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2" name="Google Shape;38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6"/>
        <p:cNvGrpSpPr/>
        <p:nvPr/>
      </p:nvGrpSpPr>
      <p:grpSpPr>
        <a:xfrm>
          <a:off x="0" y="0"/>
          <a:ext cx="0" cy="0"/>
          <a:chOff x="0" y="0"/>
          <a:chExt cx="0" cy="0"/>
        </a:xfrm>
      </p:grpSpPr>
      <p:sp>
        <p:nvSpPr>
          <p:cNvPr id="537" name="Google Shape;537;p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8" name="Google Shape;538;p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5" name="Google Shape;545;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2" name="Google Shape;552;p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
        <p:cNvGrpSpPr/>
        <p:nvPr/>
      </p:nvGrpSpPr>
      <p:grpSpPr>
        <a:xfrm>
          <a:off x="0" y="0"/>
          <a:ext cx="0" cy="0"/>
          <a:chOff x="0" y="0"/>
          <a:chExt cx="0" cy="0"/>
        </a:xfrm>
      </p:grpSpPr>
      <p:sp>
        <p:nvSpPr>
          <p:cNvPr id="558" name="Google Shape;558;p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9" name="Google Shape;559;p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9"/>
        <p:cNvGrpSpPr/>
        <p:nvPr/>
      </p:nvGrpSpPr>
      <p:grpSpPr>
        <a:xfrm>
          <a:off x="0" y="0"/>
          <a:ext cx="0" cy="0"/>
          <a:chOff x="0" y="0"/>
          <a:chExt cx="0" cy="0"/>
        </a:xfrm>
      </p:grpSpPr>
      <p:sp>
        <p:nvSpPr>
          <p:cNvPr id="580" name="Google Shape;580;p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81" name="Google Shape;581;p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8"/>
        <p:cNvGrpSpPr/>
        <p:nvPr/>
      </p:nvGrpSpPr>
      <p:grpSpPr>
        <a:xfrm>
          <a:off x="0" y="0"/>
          <a:ext cx="0" cy="0"/>
          <a:chOff x="0" y="0"/>
          <a:chExt cx="0" cy="0"/>
        </a:xfrm>
      </p:grpSpPr>
      <p:sp>
        <p:nvSpPr>
          <p:cNvPr id="589" name="Google Shape;589;p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0" name="Google Shape;590;p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9" name="Google Shape;599;p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p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09" name="Google Shape;609;p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rgbClr val="404040"/>
                </a:solidFill>
                <a:latin typeface="Calibri"/>
                <a:ea typeface="Calibri"/>
                <a:cs typeface="Calibri"/>
                <a:sym typeface="Calibri"/>
              </a:rPr>
              <a:t>After introducing self, have students introduce themselves:</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Name?</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How long with the company?</a:t>
            </a:r>
          </a:p>
          <a:p>
            <a:pPr marL="228600" lvl="0" indent="-228600" algn="l" rtl="0">
              <a:lnSpc>
                <a:spcPct val="100000"/>
              </a:lnSpc>
              <a:spcBef>
                <a:spcPts val="0"/>
              </a:spcBef>
              <a:spcAft>
                <a:spcPts val="0"/>
              </a:spcAft>
              <a:buSzPts val="1100"/>
              <a:buAutoNum type="arabicPeriod"/>
            </a:pPr>
            <a:r>
              <a:rPr lang="en-US" sz="1200" dirty="0">
                <a:solidFill>
                  <a:srgbClr val="404040"/>
                </a:solidFill>
                <a:latin typeface="Calibri"/>
                <a:ea typeface="Calibri"/>
                <a:cs typeface="Calibri"/>
                <a:sym typeface="Calibri"/>
              </a:rPr>
              <a:t>What are you hoping to come away from this training having gained in terms of knowledge and/or information that you can take back with you to your teams and your day-to-day rol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p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9" name="Google Shape;619;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7C2C4-5606-6BA1-9FB0-98801FEC0C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A1C01F-25AB-1E28-9D95-5EF57AB62A76}"/>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934D06D-35CB-7C11-CC93-A9DFFC70037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3813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IN" dirty="0"/>
              <a:t>Story mapping is a highly collaborative method/technique/process/pattern that uses visual thinking with an aim to establish common &amp; shared understanding in cross-functional product teams with the help of narratives.</a:t>
            </a:r>
            <a:endParaRPr dirty="0"/>
          </a:p>
          <a:p>
            <a:pPr marL="0" lvl="0" indent="0" algn="l" rtl="0">
              <a:lnSpc>
                <a:spcPct val="100000"/>
              </a:lnSpc>
              <a:spcBef>
                <a:spcPts val="0"/>
              </a:spcBef>
              <a:spcAft>
                <a:spcPts val="0"/>
              </a:spcAft>
              <a:buSzPts val="1400"/>
              <a:buNone/>
            </a:pPr>
            <a:endParaRPr dirty="0"/>
          </a:p>
        </p:txBody>
      </p:sp>
      <p:sp>
        <p:nvSpPr>
          <p:cNvPr id="363" name="Google Shape;363;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82" name="Google Shape;382;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IN" dirty="0"/>
              <a:t>Story mapping is a highly collaborative method/technique/process/pattern that uses visual thinking with an aim to establish common &amp; shared understanding in cross-functional product teams with the help of narratives.</a:t>
            </a:r>
            <a:endParaRPr dirty="0"/>
          </a:p>
          <a:p>
            <a:pPr marL="0" lvl="0" indent="0" algn="l" rtl="0">
              <a:lnSpc>
                <a:spcPct val="100000"/>
              </a:lnSpc>
              <a:spcBef>
                <a:spcPts val="0"/>
              </a:spcBef>
              <a:spcAft>
                <a:spcPts val="0"/>
              </a:spcAft>
              <a:buSzPts val="1400"/>
              <a:buNone/>
            </a:pPr>
            <a:endParaRPr dirty="0"/>
          </a:p>
        </p:txBody>
      </p:sp>
      <p:sp>
        <p:nvSpPr>
          <p:cNvPr id="429" name="Google Shape;429;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IN" dirty="0"/>
              <a:t>Story mapping is a highly collaborative method/technique/process/pattern that uses visual thinking with an aim to establish common &amp; shared understanding in cross-functional product teams with the help of narratives.</a:t>
            </a:r>
            <a:endParaRPr dirty="0"/>
          </a:p>
          <a:p>
            <a:pPr marL="0" lvl="0" indent="0" algn="l" rtl="0">
              <a:lnSpc>
                <a:spcPct val="100000"/>
              </a:lnSpc>
              <a:spcBef>
                <a:spcPts val="0"/>
              </a:spcBef>
              <a:spcAft>
                <a:spcPts val="0"/>
              </a:spcAft>
              <a:buSzPts val="1400"/>
              <a:buNone/>
            </a:pPr>
            <a:endParaRPr dirty="0"/>
          </a:p>
        </p:txBody>
      </p:sp>
      <p:sp>
        <p:nvSpPr>
          <p:cNvPr id="476" name="Google Shape;476;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515" name="Google Shape;515;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8"/>
        <p:cNvGrpSpPr/>
        <p:nvPr/>
      </p:nvGrpSpPr>
      <p:grpSpPr>
        <a:xfrm>
          <a:off x="0" y="0"/>
          <a:ext cx="0" cy="0"/>
          <a:chOff x="0" y="0"/>
          <a:chExt cx="0" cy="0"/>
        </a:xfrm>
      </p:grpSpPr>
      <p:sp>
        <p:nvSpPr>
          <p:cNvPr id="559" name="Google Shape;559;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560" name="Google Shape;560;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9"/>
        <p:cNvGrpSpPr/>
        <p:nvPr/>
      </p:nvGrpSpPr>
      <p:grpSpPr>
        <a:xfrm>
          <a:off x="0" y="0"/>
          <a:ext cx="0" cy="0"/>
          <a:chOff x="0" y="0"/>
          <a:chExt cx="0" cy="0"/>
        </a:xfrm>
      </p:grpSpPr>
      <p:sp>
        <p:nvSpPr>
          <p:cNvPr id="600" name="Google Shape;600;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601" name="Google Shape;601;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2"/>
        <p:cNvGrpSpPr/>
        <p:nvPr/>
      </p:nvGrpSpPr>
      <p:grpSpPr>
        <a:xfrm>
          <a:off x="0" y="0"/>
          <a:ext cx="0" cy="0"/>
          <a:chOff x="0" y="0"/>
          <a:chExt cx="0" cy="0"/>
        </a:xfrm>
      </p:grpSpPr>
      <p:sp>
        <p:nvSpPr>
          <p:cNvPr id="643" name="Google Shape;643;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644" name="Google Shape;644;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dirty="0">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91648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a:extLst>
            <a:ext uri="{FF2B5EF4-FFF2-40B4-BE49-F238E27FC236}">
              <a16:creationId xmlns:a16="http://schemas.microsoft.com/office/drawing/2014/main" id="{FC3BBB47-7BAC-F352-E4AC-168C8650B199}"/>
            </a:ext>
          </a:extLst>
        </p:cNvPr>
        <p:cNvGrpSpPr/>
        <p:nvPr/>
      </p:nvGrpSpPr>
      <p:grpSpPr>
        <a:xfrm>
          <a:off x="0" y="0"/>
          <a:ext cx="0" cy="0"/>
          <a:chOff x="0" y="0"/>
          <a:chExt cx="0" cy="0"/>
        </a:xfrm>
      </p:grpSpPr>
      <p:sp>
        <p:nvSpPr>
          <p:cNvPr id="108" name="Google Shape;108;gc2c2b1796e_0_0:notes">
            <a:extLst>
              <a:ext uri="{FF2B5EF4-FFF2-40B4-BE49-F238E27FC236}">
                <a16:creationId xmlns:a16="http://schemas.microsoft.com/office/drawing/2014/main" id="{121C7AE9-67F9-5D80-B1F0-50B535C1C79D}"/>
              </a:ext>
            </a:extLst>
          </p:cNvPr>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a:extLst>
              <a:ext uri="{FF2B5EF4-FFF2-40B4-BE49-F238E27FC236}">
                <a16:creationId xmlns:a16="http://schemas.microsoft.com/office/drawing/2014/main" id="{A695C0AC-E557-B86E-193D-0B6470BB97C4}"/>
              </a:ext>
            </a:extLst>
          </p:cNvPr>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416524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a:extLst>
            <a:ext uri="{FF2B5EF4-FFF2-40B4-BE49-F238E27FC236}">
              <a16:creationId xmlns:a16="http://schemas.microsoft.com/office/drawing/2014/main" id="{47853077-7568-0ADB-9F79-8903A335B88E}"/>
            </a:ext>
          </a:extLst>
        </p:cNvPr>
        <p:cNvGrpSpPr/>
        <p:nvPr/>
      </p:nvGrpSpPr>
      <p:grpSpPr>
        <a:xfrm>
          <a:off x="0" y="0"/>
          <a:ext cx="0" cy="0"/>
          <a:chOff x="0" y="0"/>
          <a:chExt cx="0" cy="0"/>
        </a:xfrm>
      </p:grpSpPr>
      <p:sp>
        <p:nvSpPr>
          <p:cNvPr id="108" name="Google Shape;108;gc2c2b1796e_0_0:notes">
            <a:extLst>
              <a:ext uri="{FF2B5EF4-FFF2-40B4-BE49-F238E27FC236}">
                <a16:creationId xmlns:a16="http://schemas.microsoft.com/office/drawing/2014/main" id="{4E1A6016-5236-2A8F-E1C4-C749D44983F4}"/>
              </a:ext>
            </a:extLst>
          </p:cNvPr>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a:extLst>
              <a:ext uri="{FF2B5EF4-FFF2-40B4-BE49-F238E27FC236}">
                <a16:creationId xmlns:a16="http://schemas.microsoft.com/office/drawing/2014/main" id="{F4D02F9E-CEEB-6DB7-5783-0116CFDF2F04}"/>
              </a:ext>
            </a:extLst>
          </p:cNvPr>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004443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a:extLst>
            <a:ext uri="{FF2B5EF4-FFF2-40B4-BE49-F238E27FC236}">
              <a16:creationId xmlns:a16="http://schemas.microsoft.com/office/drawing/2014/main" id="{0D9FE129-35B2-16CE-4655-982E482046DD}"/>
            </a:ext>
          </a:extLst>
        </p:cNvPr>
        <p:cNvGrpSpPr/>
        <p:nvPr/>
      </p:nvGrpSpPr>
      <p:grpSpPr>
        <a:xfrm>
          <a:off x="0" y="0"/>
          <a:ext cx="0" cy="0"/>
          <a:chOff x="0" y="0"/>
          <a:chExt cx="0" cy="0"/>
        </a:xfrm>
      </p:grpSpPr>
      <p:sp>
        <p:nvSpPr>
          <p:cNvPr id="108" name="Google Shape;108;gc2c2b1796e_0_0:notes">
            <a:extLst>
              <a:ext uri="{FF2B5EF4-FFF2-40B4-BE49-F238E27FC236}">
                <a16:creationId xmlns:a16="http://schemas.microsoft.com/office/drawing/2014/main" id="{EA588C1A-8976-10D3-B7F0-6E98968EDF23}"/>
              </a:ext>
            </a:extLst>
          </p:cNvPr>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a:extLst>
              <a:ext uri="{FF2B5EF4-FFF2-40B4-BE49-F238E27FC236}">
                <a16:creationId xmlns:a16="http://schemas.microsoft.com/office/drawing/2014/main" id="{57534EDE-BEE0-07EE-5AB2-A97D45CDCD72}"/>
              </a:ext>
            </a:extLst>
          </p:cNvPr>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542192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a:extLst>
            <a:ext uri="{FF2B5EF4-FFF2-40B4-BE49-F238E27FC236}">
              <a16:creationId xmlns:a16="http://schemas.microsoft.com/office/drawing/2014/main" id="{B9057DCB-1126-2815-D1A2-91841DE5A17C}"/>
            </a:ext>
          </a:extLst>
        </p:cNvPr>
        <p:cNvGrpSpPr/>
        <p:nvPr/>
      </p:nvGrpSpPr>
      <p:grpSpPr>
        <a:xfrm>
          <a:off x="0" y="0"/>
          <a:ext cx="0" cy="0"/>
          <a:chOff x="0" y="0"/>
          <a:chExt cx="0" cy="0"/>
        </a:xfrm>
      </p:grpSpPr>
      <p:sp>
        <p:nvSpPr>
          <p:cNvPr id="108" name="Google Shape;108;gc2c2b1796e_0_0:notes">
            <a:extLst>
              <a:ext uri="{FF2B5EF4-FFF2-40B4-BE49-F238E27FC236}">
                <a16:creationId xmlns:a16="http://schemas.microsoft.com/office/drawing/2014/main" id="{15F26B9D-D602-310C-6214-1334783CD153}"/>
              </a:ext>
            </a:extLst>
          </p:cNvPr>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a:extLst>
              <a:ext uri="{FF2B5EF4-FFF2-40B4-BE49-F238E27FC236}">
                <a16:creationId xmlns:a16="http://schemas.microsoft.com/office/drawing/2014/main" id="{F9E936AA-C86B-14BE-707E-6CA178786ED5}"/>
              </a:ext>
            </a:extLst>
          </p:cNvPr>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293295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2"/>
        <p:cNvGrpSpPr/>
        <p:nvPr/>
      </p:nvGrpSpPr>
      <p:grpSpPr>
        <a:xfrm>
          <a:off x="0" y="0"/>
          <a:ext cx="0" cy="0"/>
          <a:chOff x="0" y="0"/>
          <a:chExt cx="0" cy="0"/>
        </a:xfrm>
      </p:grpSpPr>
      <p:sp>
        <p:nvSpPr>
          <p:cNvPr id="683" name="Google Shape;683;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684" name="Google Shape;684;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9">
          <a:extLst>
            <a:ext uri="{FF2B5EF4-FFF2-40B4-BE49-F238E27FC236}">
              <a16:creationId xmlns:a16="http://schemas.microsoft.com/office/drawing/2014/main" id="{6E8C555C-2A51-0653-5A70-00D1542B6556}"/>
            </a:ext>
          </a:extLst>
        </p:cNvPr>
        <p:cNvGrpSpPr/>
        <p:nvPr/>
      </p:nvGrpSpPr>
      <p:grpSpPr>
        <a:xfrm>
          <a:off x="0" y="0"/>
          <a:ext cx="0" cy="0"/>
          <a:chOff x="0" y="0"/>
          <a:chExt cx="0" cy="0"/>
        </a:xfrm>
      </p:grpSpPr>
      <p:sp>
        <p:nvSpPr>
          <p:cNvPr id="1290" name="Google Shape;1290;p112:notes">
            <a:extLst>
              <a:ext uri="{FF2B5EF4-FFF2-40B4-BE49-F238E27FC236}">
                <a16:creationId xmlns:a16="http://schemas.microsoft.com/office/drawing/2014/main" id="{DB5F45CA-D119-3CDF-42B7-C53C45003CD3}"/>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91" name="Google Shape;1291;p112:notes">
            <a:extLst>
              <a:ext uri="{FF2B5EF4-FFF2-40B4-BE49-F238E27FC236}">
                <a16:creationId xmlns:a16="http://schemas.microsoft.com/office/drawing/2014/main" id="{8425ACF5-161E-C4A7-8C13-30024689564C}"/>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6126781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B9BCA-12D6-4FF8-4793-6ACD313AB2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C881AB-5DD8-4D8B-7FC7-024C54C8ED8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5AFD954A-589F-6F95-0804-0B67293BDC6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68177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1"/>
        <p:cNvGrpSpPr/>
        <p:nvPr/>
      </p:nvGrpSpPr>
      <p:grpSpPr>
        <a:xfrm>
          <a:off x="0" y="0"/>
          <a:ext cx="0" cy="0"/>
          <a:chOff x="0" y="0"/>
          <a:chExt cx="0" cy="0"/>
        </a:xfrm>
      </p:grpSpPr>
      <p:sp>
        <p:nvSpPr>
          <p:cNvPr id="782" name="Google Shape;782;p2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83" name="Google Shape;783;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How do we integrate security here?</a:t>
            </a:r>
            <a:endParaRPr dirty="0"/>
          </a:p>
        </p:txBody>
      </p:sp>
      <p:sp>
        <p:nvSpPr>
          <p:cNvPr id="367" name="Google Shape;367;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2"/>
        <p:cNvGrpSpPr/>
        <p:nvPr/>
      </p:nvGrpSpPr>
      <p:grpSpPr>
        <a:xfrm>
          <a:off x="0" y="0"/>
          <a:ext cx="0" cy="0"/>
          <a:chOff x="0" y="0"/>
          <a:chExt cx="0" cy="0"/>
        </a:xfrm>
      </p:grpSpPr>
      <p:sp>
        <p:nvSpPr>
          <p:cNvPr id="393" name="Google Shape;393;p1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How do we integrate security here?</a:t>
            </a:r>
          </a:p>
        </p:txBody>
      </p:sp>
      <p:sp>
        <p:nvSpPr>
          <p:cNvPr id="394" name="Google Shape;39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8"/>
        <p:cNvGrpSpPr/>
        <p:nvPr/>
      </p:nvGrpSpPr>
      <p:grpSpPr>
        <a:xfrm>
          <a:off x="0" y="0"/>
          <a:ext cx="0" cy="0"/>
          <a:chOff x="0" y="0"/>
          <a:chExt cx="0" cy="0"/>
        </a:xfrm>
      </p:grpSpPr>
      <p:sp>
        <p:nvSpPr>
          <p:cNvPr id="419" name="Google Shape;419;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How do we integrate security here?</a:t>
            </a:r>
          </a:p>
        </p:txBody>
      </p:sp>
      <p:sp>
        <p:nvSpPr>
          <p:cNvPr id="420" name="Google Shape;42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dirty="0"/>
              <a:t>How do we integrate security here?</a:t>
            </a:r>
          </a:p>
        </p:txBody>
      </p:sp>
      <p:sp>
        <p:nvSpPr>
          <p:cNvPr id="447" name="Google Shape;447;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
        <p:cNvGrpSpPr/>
        <p:nvPr/>
      </p:nvGrpSpPr>
      <p:grpSpPr>
        <a:xfrm>
          <a:off x="0" y="0"/>
          <a:ext cx="0" cy="0"/>
          <a:chOff x="0" y="0"/>
          <a:chExt cx="0" cy="0"/>
        </a:xfrm>
      </p:grpSpPr>
      <p:sp>
        <p:nvSpPr>
          <p:cNvPr id="387" name="Google Shape;387;g1006ad13e46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8" name="Google Shape;388;g1006ad13e46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C36C2-8025-60C6-D758-C7DDB3371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4D7E35-B43F-D80C-C62F-EA3234941983}"/>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BF90BCC2-D303-9EE8-5804-3CBC33E42D0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20858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C3237329-5045-36CA-95D3-1E7A1BFFD466}"/>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4F3242E6-31DA-D21A-D88D-00D8E7D00ACC}"/>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B02348B5-25A2-FB01-619C-37A1613F4BE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01722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a:extLst>
            <a:ext uri="{FF2B5EF4-FFF2-40B4-BE49-F238E27FC236}">
              <a16:creationId xmlns:a16="http://schemas.microsoft.com/office/drawing/2014/main" id="{580D1B6D-FC92-3E37-65CE-8D6795367E20}"/>
            </a:ext>
          </a:extLst>
        </p:cNvPr>
        <p:cNvGrpSpPr/>
        <p:nvPr/>
      </p:nvGrpSpPr>
      <p:grpSpPr>
        <a:xfrm>
          <a:off x="0" y="0"/>
          <a:ext cx="0" cy="0"/>
          <a:chOff x="0" y="0"/>
          <a:chExt cx="0" cy="0"/>
        </a:xfrm>
      </p:grpSpPr>
      <p:sp>
        <p:nvSpPr>
          <p:cNvPr id="347" name="Google Shape;347;p11:notes">
            <a:extLst>
              <a:ext uri="{FF2B5EF4-FFF2-40B4-BE49-F238E27FC236}">
                <a16:creationId xmlns:a16="http://schemas.microsoft.com/office/drawing/2014/main" id="{39D3A251-6B83-529A-F91E-0F0D1143F0D1}"/>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sz="1200" dirty="0">
                <a:solidFill>
                  <a:schemeClr val="dk1"/>
                </a:solidFill>
                <a:latin typeface="Calibri"/>
                <a:ea typeface="Calibri"/>
                <a:cs typeface="Calibri"/>
                <a:sym typeface="Calibri"/>
              </a:rPr>
              <a:t>GitLab: </a:t>
            </a:r>
            <a:r>
              <a:rPr lang="en-US" sz="1200" dirty="0">
                <a:solidFill>
                  <a:srgbClr val="404040"/>
                </a:solidFill>
              </a:rPr>
              <a:t>repository creation and branching, integration of automated testing into the pipeline, creating and processing merge requests to support Continuous Integration of changes across the development team, and integration with an artifact repository for storing build outputs</a:t>
            </a:r>
            <a:endParaRPr lang="en-US" sz="1200" dirty="0">
              <a:solidFill>
                <a:schemeClr val="dk1"/>
              </a:solidFill>
              <a:latin typeface="Calibri"/>
              <a:ea typeface="Calibri"/>
              <a:cs typeface="Calibri"/>
              <a:sym typeface="Calibri"/>
            </a:endParaRPr>
          </a:p>
        </p:txBody>
      </p:sp>
      <p:sp>
        <p:nvSpPr>
          <p:cNvPr id="348" name="Google Shape;348;p11:notes">
            <a:extLst>
              <a:ext uri="{FF2B5EF4-FFF2-40B4-BE49-F238E27FC236}">
                <a16:creationId xmlns:a16="http://schemas.microsoft.com/office/drawing/2014/main" id="{48BBF3E6-F5A3-6467-5CEE-968CDD131A1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95022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B608-4AF4-4899-D04F-99029DF17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F1365D-0E9C-AECF-CE11-C4A53EB28A04}"/>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CD6B3BE2-4DCB-B310-7E42-0E0F949B85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27482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Talk about waterfall experience/failure</a:t>
            </a:r>
            <a:endParaRPr dirty="0"/>
          </a:p>
        </p:txBody>
      </p:sp>
      <p:sp>
        <p:nvSpPr>
          <p:cNvPr id="367" name="Google Shape;367;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4"/>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20"/>
        <p:cNvGrpSpPr/>
        <p:nvPr/>
      </p:nvGrpSpPr>
      <p:grpSpPr>
        <a:xfrm>
          <a:off x="0" y="0"/>
          <a:ext cx="0" cy="0"/>
          <a:chOff x="0" y="0"/>
          <a:chExt cx="0" cy="0"/>
        </a:xfrm>
      </p:grpSpPr>
      <p:sp>
        <p:nvSpPr>
          <p:cNvPr id="121" name="Google Shape;121;p2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22" name="Google Shape;122;p25"/>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25"/>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25"/>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25"/>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6" name="Google Shape;126;p25"/>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27" name="Google Shape;127;p2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30" name="Google Shape;130;p26"/>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26"/>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26"/>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33" name="Google Shape;133;p2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34"/>
        <p:cNvGrpSpPr/>
        <p:nvPr/>
      </p:nvGrpSpPr>
      <p:grpSpPr>
        <a:xfrm>
          <a:off x="0" y="0"/>
          <a:ext cx="0" cy="0"/>
          <a:chOff x="0" y="0"/>
          <a:chExt cx="0" cy="0"/>
        </a:xfrm>
      </p:grpSpPr>
      <p:sp>
        <p:nvSpPr>
          <p:cNvPr id="135" name="Google Shape;135;p27"/>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pic>
        <p:nvPicPr>
          <p:cNvPr id="136" name="Google Shape;136;p27"/>
          <p:cNvPicPr preferRelativeResize="0"/>
          <p:nvPr/>
        </p:nvPicPr>
        <p:blipFill>
          <a:blip r:embed="rId2">
            <a:alphaModFix/>
          </a:blip>
          <a:stretch>
            <a:fillRect/>
          </a:stretch>
        </p:blipFill>
        <p:spPr>
          <a:xfrm>
            <a:off x="2975050" y="456025"/>
            <a:ext cx="8270745" cy="5240901"/>
          </a:xfrm>
          <a:prstGeom prst="rect">
            <a:avLst/>
          </a:prstGeom>
          <a:noFill/>
          <a:ln>
            <a:noFill/>
          </a:ln>
        </p:spPr>
      </p:pic>
      <p:sp>
        <p:nvSpPr>
          <p:cNvPr id="137" name="Google Shape;137;p27"/>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38" name="Google Shape;138;p27"/>
          <p:cNvSpPr txBox="1">
            <a:spLocks noGrp="1"/>
          </p:cNvSpPr>
          <p:nvPr>
            <p:ph type="subTitle" idx="1"/>
          </p:nvPr>
        </p:nvSpPr>
        <p:spPr>
          <a:xfrm>
            <a:off x="231925" y="1493100"/>
            <a:ext cx="35058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39"/>
        <p:cNvGrpSpPr/>
        <p:nvPr/>
      </p:nvGrpSpPr>
      <p:grpSpPr>
        <a:xfrm>
          <a:off x="0" y="0"/>
          <a:ext cx="0" cy="0"/>
          <a:chOff x="0" y="0"/>
          <a:chExt cx="0" cy="0"/>
        </a:xfrm>
      </p:grpSpPr>
      <p:sp>
        <p:nvSpPr>
          <p:cNvPr id="140" name="Google Shape;140;p28"/>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1" name="Google Shape;141;p28"/>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rtl="0">
              <a:lnSpc>
                <a:spcPct val="90000"/>
              </a:lnSpc>
              <a:spcBef>
                <a:spcPts val="0"/>
              </a:spcBef>
              <a:spcAft>
                <a:spcPts val="0"/>
              </a:spcAft>
              <a:buClr>
                <a:schemeClr val="lt1"/>
              </a:buClr>
              <a:buSzPts val="2000"/>
              <a:buNone/>
              <a:defRPr sz="2000">
                <a:solidFill>
                  <a:schemeClr val="lt1"/>
                </a:solidFill>
              </a:defRPr>
            </a:lvl1pPr>
            <a:lvl2pPr lvl="1" rtl="0">
              <a:spcBef>
                <a:spcPts val="0"/>
              </a:spcBef>
              <a:spcAft>
                <a:spcPts val="0"/>
              </a:spcAft>
              <a:buSzPts val="2100"/>
              <a:buNone/>
              <a:defRPr sz="2100"/>
            </a:lvl2pPr>
            <a:lvl3pPr lvl="2" rtl="0">
              <a:spcBef>
                <a:spcPts val="0"/>
              </a:spcBef>
              <a:spcAft>
                <a:spcPts val="0"/>
              </a:spcAft>
              <a:buSzPts val="2100"/>
              <a:buNone/>
              <a:defRPr sz="2100"/>
            </a:lvl3pPr>
            <a:lvl4pPr lvl="3" rtl="0">
              <a:spcBef>
                <a:spcPts val="0"/>
              </a:spcBef>
              <a:spcAft>
                <a:spcPts val="0"/>
              </a:spcAft>
              <a:buSzPts val="2100"/>
              <a:buNone/>
              <a:defRPr sz="2100"/>
            </a:lvl4pPr>
            <a:lvl5pPr lvl="4" rtl="0">
              <a:spcBef>
                <a:spcPts val="0"/>
              </a:spcBef>
              <a:spcAft>
                <a:spcPts val="0"/>
              </a:spcAft>
              <a:buSzPts val="2100"/>
              <a:buNone/>
              <a:defRPr sz="2100"/>
            </a:lvl5pPr>
            <a:lvl6pPr lvl="5" rtl="0">
              <a:spcBef>
                <a:spcPts val="0"/>
              </a:spcBef>
              <a:spcAft>
                <a:spcPts val="0"/>
              </a:spcAft>
              <a:buSzPts val="2100"/>
              <a:buNone/>
              <a:defRPr sz="2100"/>
            </a:lvl6pPr>
            <a:lvl7pPr lvl="6" rtl="0">
              <a:spcBef>
                <a:spcPts val="0"/>
              </a:spcBef>
              <a:spcAft>
                <a:spcPts val="0"/>
              </a:spcAft>
              <a:buSzPts val="2100"/>
              <a:buNone/>
              <a:defRPr sz="2100"/>
            </a:lvl7pPr>
            <a:lvl8pPr lvl="7" rtl="0">
              <a:spcBef>
                <a:spcPts val="0"/>
              </a:spcBef>
              <a:spcAft>
                <a:spcPts val="0"/>
              </a:spcAft>
              <a:buSzPts val="2100"/>
              <a:buNone/>
              <a:defRPr sz="2100"/>
            </a:lvl8pPr>
            <a:lvl9pPr lvl="8" rtl="0">
              <a:spcBef>
                <a:spcPts val="0"/>
              </a:spcBef>
              <a:spcAft>
                <a:spcPts val="0"/>
              </a:spcAft>
              <a:buSzPts val="2100"/>
              <a:buNone/>
              <a:defRPr sz="2100"/>
            </a:lvl9pPr>
          </a:lstStyle>
          <a:p>
            <a:endParaRPr/>
          </a:p>
        </p:txBody>
      </p:sp>
      <p:pic>
        <p:nvPicPr>
          <p:cNvPr id="142" name="Google Shape;142;p28"/>
          <p:cNvPicPr preferRelativeResize="0"/>
          <p:nvPr/>
        </p:nvPicPr>
        <p:blipFill>
          <a:blip r:embed="rId2">
            <a:alphaModFix/>
          </a:blip>
          <a:stretch>
            <a:fillRect/>
          </a:stretch>
        </p:blipFill>
        <p:spPr>
          <a:xfrm>
            <a:off x="948098" y="937700"/>
            <a:ext cx="7247804" cy="4592673"/>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mart phone right 1">
  <p:cSld name="TITLE_1_1">
    <p:bg>
      <p:bgPr>
        <a:solidFill>
          <a:srgbClr val="000000"/>
        </a:solidFill>
        <a:effectLst/>
      </p:bgPr>
    </p:bg>
    <p:spTree>
      <p:nvGrpSpPr>
        <p:cNvPr id="1" name="Shape 143"/>
        <p:cNvGrpSpPr/>
        <p:nvPr/>
      </p:nvGrpSpPr>
      <p:grpSpPr>
        <a:xfrm>
          <a:off x="0" y="0"/>
          <a:ext cx="0" cy="0"/>
          <a:chOff x="0" y="0"/>
          <a:chExt cx="0" cy="0"/>
        </a:xfrm>
      </p:grpSpPr>
      <p:sp>
        <p:nvSpPr>
          <p:cNvPr id="144" name="Google Shape;144;p29"/>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rtl="0">
              <a:lnSpc>
                <a:spcPct val="100000"/>
              </a:lnSpc>
              <a:spcBef>
                <a:spcPts val="0"/>
              </a:spcBef>
              <a:spcAft>
                <a:spcPts val="0"/>
              </a:spcAft>
              <a:buClr>
                <a:srgbClr val="404040"/>
              </a:buClr>
              <a:buSzPts val="900"/>
              <a:buFont typeface="Montserrat"/>
              <a:buNone/>
              <a:defRPr>
                <a:solidFill>
                  <a:srgbClr val="404040"/>
                </a:solidFill>
              </a:defRPr>
            </a:lvl1pPr>
            <a:lvl2pPr marL="0" marR="0" lvl="1" indent="0" algn="r" rtl="0">
              <a:lnSpc>
                <a:spcPct val="100000"/>
              </a:lnSpc>
              <a:spcBef>
                <a:spcPts val="0"/>
              </a:spcBef>
              <a:spcAft>
                <a:spcPts val="0"/>
              </a:spcAft>
              <a:buClr>
                <a:srgbClr val="404040"/>
              </a:buClr>
              <a:buSzPts val="900"/>
              <a:buFont typeface="Montserrat"/>
              <a:buNone/>
              <a:defRPr>
                <a:solidFill>
                  <a:srgbClr val="404040"/>
                </a:solidFill>
              </a:defRPr>
            </a:lvl2pPr>
            <a:lvl3pPr marL="0" marR="0" lvl="2" indent="0" algn="r" rtl="0">
              <a:lnSpc>
                <a:spcPct val="100000"/>
              </a:lnSpc>
              <a:spcBef>
                <a:spcPts val="0"/>
              </a:spcBef>
              <a:spcAft>
                <a:spcPts val="0"/>
              </a:spcAft>
              <a:buClr>
                <a:srgbClr val="404040"/>
              </a:buClr>
              <a:buSzPts val="900"/>
              <a:buFont typeface="Montserrat"/>
              <a:buNone/>
              <a:defRPr>
                <a:solidFill>
                  <a:srgbClr val="404040"/>
                </a:solidFill>
              </a:defRPr>
            </a:lvl3pPr>
            <a:lvl4pPr marL="0" marR="0" lvl="3" indent="0" algn="r" rtl="0">
              <a:lnSpc>
                <a:spcPct val="100000"/>
              </a:lnSpc>
              <a:spcBef>
                <a:spcPts val="0"/>
              </a:spcBef>
              <a:spcAft>
                <a:spcPts val="0"/>
              </a:spcAft>
              <a:buClr>
                <a:srgbClr val="404040"/>
              </a:buClr>
              <a:buSzPts val="900"/>
              <a:buFont typeface="Montserrat"/>
              <a:buNone/>
              <a:defRPr>
                <a:solidFill>
                  <a:srgbClr val="404040"/>
                </a:solidFill>
              </a:defRPr>
            </a:lvl4pPr>
            <a:lvl5pPr marL="0" marR="0" lvl="4" indent="0" algn="r" rtl="0">
              <a:lnSpc>
                <a:spcPct val="100000"/>
              </a:lnSpc>
              <a:spcBef>
                <a:spcPts val="0"/>
              </a:spcBef>
              <a:spcAft>
                <a:spcPts val="0"/>
              </a:spcAft>
              <a:buClr>
                <a:srgbClr val="404040"/>
              </a:buClr>
              <a:buSzPts val="900"/>
              <a:buFont typeface="Montserrat"/>
              <a:buNone/>
              <a:defRPr>
                <a:solidFill>
                  <a:srgbClr val="404040"/>
                </a:solidFill>
              </a:defRPr>
            </a:lvl5pPr>
            <a:lvl6pPr marL="0" marR="0" lvl="5" indent="0" algn="r" rtl="0">
              <a:lnSpc>
                <a:spcPct val="100000"/>
              </a:lnSpc>
              <a:spcBef>
                <a:spcPts val="0"/>
              </a:spcBef>
              <a:spcAft>
                <a:spcPts val="0"/>
              </a:spcAft>
              <a:buClr>
                <a:srgbClr val="404040"/>
              </a:buClr>
              <a:buSzPts val="900"/>
              <a:buFont typeface="Montserrat"/>
              <a:buNone/>
              <a:defRPr>
                <a:solidFill>
                  <a:srgbClr val="404040"/>
                </a:solidFill>
              </a:defRPr>
            </a:lvl6pPr>
            <a:lvl7pPr marL="0" marR="0" lvl="6" indent="0" algn="r" rtl="0">
              <a:lnSpc>
                <a:spcPct val="100000"/>
              </a:lnSpc>
              <a:spcBef>
                <a:spcPts val="0"/>
              </a:spcBef>
              <a:spcAft>
                <a:spcPts val="0"/>
              </a:spcAft>
              <a:buClr>
                <a:srgbClr val="404040"/>
              </a:buClr>
              <a:buSzPts val="900"/>
              <a:buFont typeface="Montserrat"/>
              <a:buNone/>
              <a:defRPr>
                <a:solidFill>
                  <a:srgbClr val="404040"/>
                </a:solidFill>
              </a:defRPr>
            </a:lvl7pPr>
            <a:lvl8pPr marL="0" marR="0" lvl="7" indent="0" algn="r" rtl="0">
              <a:lnSpc>
                <a:spcPct val="100000"/>
              </a:lnSpc>
              <a:spcBef>
                <a:spcPts val="0"/>
              </a:spcBef>
              <a:spcAft>
                <a:spcPts val="0"/>
              </a:spcAft>
              <a:buClr>
                <a:srgbClr val="404040"/>
              </a:buClr>
              <a:buSzPts val="900"/>
              <a:buFont typeface="Montserrat"/>
              <a:buNone/>
              <a:defRPr>
                <a:solidFill>
                  <a:srgbClr val="404040"/>
                </a:solidFill>
              </a:defRPr>
            </a:lvl8pPr>
            <a:lvl9pPr marL="0" marR="0" lvl="8" indent="0" algn="r" rtl="0">
              <a:lnSpc>
                <a:spcPct val="100000"/>
              </a:lnSpc>
              <a:spcBef>
                <a:spcPts val="0"/>
              </a:spcBef>
              <a:spcAft>
                <a:spcPts val="0"/>
              </a:spcAft>
              <a:buClr>
                <a:srgbClr val="404040"/>
              </a:buClr>
              <a:buSzPts val="900"/>
              <a:buFont typeface="Montserrat"/>
              <a:buNone/>
              <a:defRPr>
                <a:solidFill>
                  <a:srgbClr val="404040"/>
                </a:solidFill>
              </a:defRPr>
            </a:lvl9pPr>
          </a:lstStyle>
          <a:p>
            <a:pPr marL="0" lvl="0" indent="0" algn="r" rtl="0">
              <a:spcBef>
                <a:spcPts val="0"/>
              </a:spcBef>
              <a:spcAft>
                <a:spcPts val="0"/>
              </a:spcAft>
              <a:buNone/>
            </a:pPr>
            <a:fld id="{00000000-1234-1234-1234-123412341234}" type="slidenum">
              <a:rPr lang="en"/>
              <a:t>‹#›</a:t>
            </a:fld>
            <a:endParaRPr>
              <a:solidFill>
                <a:srgbClr val="FFFFFF"/>
              </a:solidFill>
            </a:endParaRPr>
          </a:p>
        </p:txBody>
      </p:sp>
      <p:sp>
        <p:nvSpPr>
          <p:cNvPr id="145" name="Google Shape;145;p29"/>
          <p:cNvSpPr txBox="1"/>
          <p:nvPr/>
        </p:nvSpPr>
        <p:spPr>
          <a:xfrm>
            <a:off x="398700" y="403700"/>
            <a:ext cx="3156600" cy="6060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 sz="2400" b="1">
                <a:latin typeface="Montserrat"/>
                <a:ea typeface="Montserrat"/>
                <a:cs typeface="Montserrat"/>
                <a:sym typeface="Montserrat"/>
              </a:rPr>
              <a:t>Headline content</a:t>
            </a:r>
            <a:endParaRPr sz="1800" b="1">
              <a:solidFill>
                <a:srgbClr val="FFFFFF"/>
              </a:solidFill>
              <a:latin typeface="Montserrat"/>
              <a:ea typeface="Montserrat"/>
              <a:cs typeface="Montserrat"/>
              <a:sym typeface="Montserrat"/>
            </a:endParaRPr>
          </a:p>
        </p:txBody>
      </p:sp>
      <p:sp>
        <p:nvSpPr>
          <p:cNvPr id="146" name="Google Shape;146;p29"/>
          <p:cNvSpPr txBox="1">
            <a:spLocks noGrp="1"/>
          </p:cNvSpPr>
          <p:nvPr>
            <p:ph type="title"/>
          </p:nvPr>
        </p:nvSpPr>
        <p:spPr>
          <a:xfrm>
            <a:off x="231925" y="431025"/>
            <a:ext cx="4244700" cy="10725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1700"/>
              <a:buNone/>
              <a:defRPr sz="1700">
                <a:solidFill>
                  <a:schemeClr val="lt1"/>
                </a:solidFill>
              </a:defRPr>
            </a:lvl1pPr>
            <a:lvl2pPr lvl="1" algn="l" rtl="0">
              <a:spcBef>
                <a:spcPts val="0"/>
              </a:spcBef>
              <a:spcAft>
                <a:spcPts val="0"/>
              </a:spcAft>
              <a:buSzPts val="2100"/>
              <a:buNone/>
              <a:defRPr sz="2100"/>
            </a:lvl2pPr>
            <a:lvl3pPr lvl="2" algn="l" rtl="0">
              <a:spcBef>
                <a:spcPts val="0"/>
              </a:spcBef>
              <a:spcAft>
                <a:spcPts val="0"/>
              </a:spcAft>
              <a:buSzPts val="2100"/>
              <a:buNone/>
              <a:defRPr sz="2100"/>
            </a:lvl3pPr>
            <a:lvl4pPr lvl="3" algn="l" rtl="0">
              <a:spcBef>
                <a:spcPts val="0"/>
              </a:spcBef>
              <a:spcAft>
                <a:spcPts val="0"/>
              </a:spcAft>
              <a:buSzPts val="2100"/>
              <a:buNone/>
              <a:defRPr sz="2100"/>
            </a:lvl4pPr>
            <a:lvl5pPr lvl="4" algn="l" rtl="0">
              <a:spcBef>
                <a:spcPts val="0"/>
              </a:spcBef>
              <a:spcAft>
                <a:spcPts val="0"/>
              </a:spcAft>
              <a:buSzPts val="2100"/>
              <a:buNone/>
              <a:defRPr sz="2100"/>
            </a:lvl5pPr>
            <a:lvl6pPr lvl="5" algn="l" rtl="0">
              <a:spcBef>
                <a:spcPts val="0"/>
              </a:spcBef>
              <a:spcAft>
                <a:spcPts val="0"/>
              </a:spcAft>
              <a:buSzPts val="2100"/>
              <a:buNone/>
              <a:defRPr sz="2100"/>
            </a:lvl6pPr>
            <a:lvl7pPr lvl="6" algn="l" rtl="0">
              <a:spcBef>
                <a:spcPts val="0"/>
              </a:spcBef>
              <a:spcAft>
                <a:spcPts val="0"/>
              </a:spcAft>
              <a:buSzPts val="2100"/>
              <a:buNone/>
              <a:defRPr sz="2100"/>
            </a:lvl7pPr>
            <a:lvl8pPr lvl="7" algn="l" rtl="0">
              <a:spcBef>
                <a:spcPts val="0"/>
              </a:spcBef>
              <a:spcAft>
                <a:spcPts val="0"/>
              </a:spcAft>
              <a:buSzPts val="2100"/>
              <a:buNone/>
              <a:defRPr sz="2100"/>
            </a:lvl8pPr>
            <a:lvl9pPr lvl="8" algn="l" rtl="0">
              <a:spcBef>
                <a:spcPts val="0"/>
              </a:spcBef>
              <a:spcAft>
                <a:spcPts val="0"/>
              </a:spcAft>
              <a:buSzPts val="2100"/>
              <a:buNone/>
              <a:defRPr sz="2100"/>
            </a:lvl9pPr>
          </a:lstStyle>
          <a:p>
            <a:endParaRPr/>
          </a:p>
        </p:txBody>
      </p:sp>
      <p:sp>
        <p:nvSpPr>
          <p:cNvPr id="147" name="Google Shape;147;p29"/>
          <p:cNvSpPr txBox="1">
            <a:spLocks noGrp="1"/>
          </p:cNvSpPr>
          <p:nvPr>
            <p:ph type="subTitle" idx="1"/>
          </p:nvPr>
        </p:nvSpPr>
        <p:spPr>
          <a:xfrm>
            <a:off x="231925" y="1493100"/>
            <a:ext cx="42447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148" name="Google Shape;148;p29"/>
          <p:cNvSpPr/>
          <p:nvPr/>
        </p:nvSpPr>
        <p:spPr>
          <a:xfrm>
            <a:off x="4934325" y="763200"/>
            <a:ext cx="3409800" cy="7104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9" name="Google Shape;149;p29"/>
          <p:cNvPicPr preferRelativeResize="0"/>
          <p:nvPr/>
        </p:nvPicPr>
        <p:blipFill>
          <a:blip r:embed="rId2">
            <a:alphaModFix/>
          </a:blip>
          <a:stretch>
            <a:fillRect/>
          </a:stretch>
        </p:blipFill>
        <p:spPr>
          <a:xfrm>
            <a:off x="4800975" y="549550"/>
            <a:ext cx="3676650" cy="7450326"/>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59"/>
        <p:cNvGrpSpPr/>
        <p:nvPr/>
      </p:nvGrpSpPr>
      <p:grpSpPr>
        <a:xfrm>
          <a:off x="0" y="0"/>
          <a:ext cx="0" cy="0"/>
          <a:chOff x="0" y="0"/>
          <a:chExt cx="0" cy="0"/>
        </a:xfrm>
      </p:grpSpPr>
      <p:grpSp>
        <p:nvGrpSpPr>
          <p:cNvPr id="160" name="Google Shape;160;p31"/>
          <p:cNvGrpSpPr/>
          <p:nvPr/>
        </p:nvGrpSpPr>
        <p:grpSpPr>
          <a:xfrm>
            <a:off x="3500202" y="-104619"/>
            <a:ext cx="5769350" cy="5951747"/>
            <a:chOff x="3458352" y="512656"/>
            <a:chExt cx="5769350" cy="5951747"/>
          </a:xfrm>
        </p:grpSpPr>
        <p:pic>
          <p:nvPicPr>
            <p:cNvPr id="161" name="Google Shape;161;p31"/>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62" name="Google Shape;162;p31"/>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63" name="Google Shape;163;p31"/>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sp>
        <p:nvSpPr>
          <p:cNvPr id="164" name="Google Shape;164;p31"/>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31"/>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31"/>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67" name="Google Shape;167;p31"/>
          <p:cNvPicPr preferRelativeResize="0"/>
          <p:nvPr/>
        </p:nvPicPr>
        <p:blipFill>
          <a:blip r:embed="rId3">
            <a:alphaModFix/>
          </a:blip>
          <a:stretch>
            <a:fillRect/>
          </a:stretch>
        </p:blipFill>
        <p:spPr>
          <a:xfrm>
            <a:off x="9305354" y="4458500"/>
            <a:ext cx="1338247" cy="290925"/>
          </a:xfrm>
          <a:prstGeom prst="rect">
            <a:avLst/>
          </a:prstGeom>
          <a:noFill/>
          <a:ln>
            <a:noFill/>
          </a:ln>
        </p:spPr>
      </p:pic>
      <p:sp>
        <p:nvSpPr>
          <p:cNvPr id="168" name="Google Shape;168;p3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169"/>
        <p:cNvGrpSpPr/>
        <p:nvPr/>
      </p:nvGrpSpPr>
      <p:grpSpPr>
        <a:xfrm>
          <a:off x="0" y="0"/>
          <a:ext cx="0" cy="0"/>
          <a:chOff x="0" y="0"/>
          <a:chExt cx="0" cy="0"/>
        </a:xfrm>
      </p:grpSpPr>
      <p:sp>
        <p:nvSpPr>
          <p:cNvPr id="170" name="Google Shape;170;p32"/>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71" name="Google Shape;171;p32"/>
          <p:cNvGrpSpPr/>
          <p:nvPr/>
        </p:nvGrpSpPr>
        <p:grpSpPr>
          <a:xfrm>
            <a:off x="4870456" y="830752"/>
            <a:ext cx="4589518" cy="4887574"/>
            <a:chOff x="3458352" y="512656"/>
            <a:chExt cx="5769350" cy="5951747"/>
          </a:xfrm>
        </p:grpSpPr>
        <p:pic>
          <p:nvPicPr>
            <p:cNvPr id="172" name="Google Shape;172;p32"/>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73" name="Google Shape;173;p32"/>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74" name="Google Shape;174;p32"/>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32"/>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32"/>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32"/>
          <p:cNvPicPr preferRelativeResize="0"/>
          <p:nvPr/>
        </p:nvPicPr>
        <p:blipFill>
          <a:blip r:embed="rId3">
            <a:alphaModFix/>
          </a:blip>
          <a:stretch>
            <a:fillRect/>
          </a:stretch>
        </p:blipFill>
        <p:spPr>
          <a:xfrm>
            <a:off x="9533954" y="4458500"/>
            <a:ext cx="1338247" cy="290925"/>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78"/>
        <p:cNvGrpSpPr/>
        <p:nvPr/>
      </p:nvGrpSpPr>
      <p:grpSpPr>
        <a:xfrm>
          <a:off x="0" y="0"/>
          <a:ext cx="0" cy="0"/>
          <a:chOff x="0" y="0"/>
          <a:chExt cx="0" cy="0"/>
        </a:xfrm>
      </p:grpSpPr>
      <p:sp>
        <p:nvSpPr>
          <p:cNvPr id="179" name="Google Shape;179;p33"/>
          <p:cNvSpPr txBox="1">
            <a:spLocks noGrp="1"/>
          </p:cNvSpPr>
          <p:nvPr>
            <p:ph type="title"/>
          </p:nvPr>
        </p:nvSpPr>
        <p:spPr>
          <a:xfrm>
            <a:off x="705000" y="1916700"/>
            <a:ext cx="8520600" cy="572700"/>
          </a:xfrm>
          <a:prstGeom prst="rect">
            <a:avLst/>
          </a:prstGeom>
        </p:spPr>
        <p:txBody>
          <a:bodyPr spcFirstLastPara="1" wrap="square" lIns="91400" tIns="91400" rIns="91400" bIns="91400" anchor="b" anchorCtr="0">
            <a:noAutofit/>
          </a:bodyPr>
          <a:lstStyle>
            <a:lvl1pPr lvl="0" algn="l" rtl="0">
              <a:spcBef>
                <a:spcPts val="0"/>
              </a:spcBef>
              <a:spcAft>
                <a:spcPts val="0"/>
              </a:spcAft>
              <a:buSzPts val="3500"/>
              <a:buNone/>
              <a:defRPr sz="3500"/>
            </a:lvl1pPr>
            <a:lvl2pPr lvl="1" algn="l" rtl="0">
              <a:spcBef>
                <a:spcPts val="0"/>
              </a:spcBef>
              <a:spcAft>
                <a:spcPts val="0"/>
              </a:spcAft>
              <a:buSzPts val="5100"/>
              <a:buNone/>
              <a:defRPr/>
            </a:lvl2pPr>
            <a:lvl3pPr lvl="2" algn="l" rtl="0">
              <a:spcBef>
                <a:spcPts val="0"/>
              </a:spcBef>
              <a:spcAft>
                <a:spcPts val="0"/>
              </a:spcAft>
              <a:buSzPts val="5100"/>
              <a:buNone/>
              <a:defRPr/>
            </a:lvl3pPr>
            <a:lvl4pPr lvl="3" algn="l" rtl="0">
              <a:spcBef>
                <a:spcPts val="0"/>
              </a:spcBef>
              <a:spcAft>
                <a:spcPts val="0"/>
              </a:spcAft>
              <a:buSzPts val="5100"/>
              <a:buNone/>
              <a:defRPr/>
            </a:lvl4pPr>
            <a:lvl5pPr lvl="4" algn="l" rtl="0">
              <a:spcBef>
                <a:spcPts val="0"/>
              </a:spcBef>
              <a:spcAft>
                <a:spcPts val="0"/>
              </a:spcAft>
              <a:buSzPts val="5100"/>
              <a:buNone/>
              <a:defRPr/>
            </a:lvl5pPr>
            <a:lvl6pPr lvl="5" algn="l" rtl="0">
              <a:spcBef>
                <a:spcPts val="0"/>
              </a:spcBef>
              <a:spcAft>
                <a:spcPts val="0"/>
              </a:spcAft>
              <a:buSzPts val="5100"/>
              <a:buNone/>
              <a:defRPr/>
            </a:lvl6pPr>
            <a:lvl7pPr lvl="6" algn="l" rtl="0">
              <a:spcBef>
                <a:spcPts val="0"/>
              </a:spcBef>
              <a:spcAft>
                <a:spcPts val="0"/>
              </a:spcAft>
              <a:buSzPts val="5100"/>
              <a:buNone/>
              <a:defRPr/>
            </a:lvl7pPr>
            <a:lvl8pPr lvl="7" algn="l" rtl="0">
              <a:spcBef>
                <a:spcPts val="0"/>
              </a:spcBef>
              <a:spcAft>
                <a:spcPts val="0"/>
              </a:spcAft>
              <a:buSzPts val="5100"/>
              <a:buNone/>
              <a:defRPr/>
            </a:lvl8pPr>
            <a:lvl9pPr lvl="8" algn="l" rtl="0">
              <a:spcBef>
                <a:spcPts val="0"/>
              </a:spcBef>
              <a:spcAft>
                <a:spcPts val="0"/>
              </a:spcAft>
              <a:buSzPts val="5100"/>
              <a:buNone/>
              <a:defRPr/>
            </a:lvl9pPr>
          </a:lstStyle>
          <a:p>
            <a:endParaRPr/>
          </a:p>
        </p:txBody>
      </p:sp>
      <p:grpSp>
        <p:nvGrpSpPr>
          <p:cNvPr id="180" name="Google Shape;180;p33"/>
          <p:cNvGrpSpPr/>
          <p:nvPr/>
        </p:nvGrpSpPr>
        <p:grpSpPr>
          <a:xfrm>
            <a:off x="4870456" y="830752"/>
            <a:ext cx="4589518" cy="4887574"/>
            <a:chOff x="3458352" y="512656"/>
            <a:chExt cx="5769350" cy="5951747"/>
          </a:xfrm>
        </p:grpSpPr>
        <p:pic>
          <p:nvPicPr>
            <p:cNvPr id="181" name="Google Shape;181;p33"/>
            <p:cNvPicPr preferRelativeResize="0"/>
            <p:nvPr/>
          </p:nvPicPr>
          <p:blipFill>
            <a:blip r:embed="rId2">
              <a:alphaModFix amt="64000"/>
            </a:blip>
            <a:stretch>
              <a:fillRect/>
            </a:stretch>
          </p:blipFill>
          <p:spPr>
            <a:xfrm rot="-5400000">
              <a:off x="4778715" y="2015416"/>
              <a:ext cx="5951747" cy="2946227"/>
            </a:xfrm>
            <a:prstGeom prst="rect">
              <a:avLst/>
            </a:prstGeom>
            <a:noFill/>
            <a:ln>
              <a:noFill/>
            </a:ln>
          </p:spPr>
        </p:pic>
        <p:pic>
          <p:nvPicPr>
            <p:cNvPr id="182" name="Google Shape;182;p33"/>
            <p:cNvPicPr preferRelativeResize="0"/>
            <p:nvPr/>
          </p:nvPicPr>
          <p:blipFill>
            <a:blip r:embed="rId2">
              <a:alphaModFix amt="64000"/>
            </a:blip>
            <a:stretch>
              <a:fillRect/>
            </a:stretch>
          </p:blipFill>
          <p:spPr>
            <a:xfrm rot="-5400000">
              <a:off x="1955593" y="2015416"/>
              <a:ext cx="5951747" cy="2946227"/>
            </a:xfrm>
            <a:prstGeom prst="rect">
              <a:avLst/>
            </a:prstGeom>
            <a:noFill/>
            <a:ln>
              <a:noFill/>
            </a:ln>
          </p:spPr>
        </p:pic>
      </p:grpSp>
      <p:sp>
        <p:nvSpPr>
          <p:cNvPr id="183" name="Google Shape;183;p33"/>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33"/>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33"/>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6" name="Google Shape;186;p33"/>
          <p:cNvPicPr preferRelativeResize="0"/>
          <p:nvPr/>
        </p:nvPicPr>
        <p:blipFill>
          <a:blip r:embed="rId3">
            <a:alphaModFix/>
          </a:blip>
          <a:stretch>
            <a:fillRect/>
          </a:stretch>
        </p:blipFill>
        <p:spPr>
          <a:xfrm>
            <a:off x="7400354" y="4458500"/>
            <a:ext cx="1338247" cy="290925"/>
          </a:xfrm>
          <a:prstGeom prst="rect">
            <a:avLst/>
          </a:prstGeom>
          <a:noFill/>
          <a:ln>
            <a:noFill/>
          </a:ln>
        </p:spPr>
      </p:pic>
      <p:sp>
        <p:nvSpPr>
          <p:cNvPr id="187" name="Google Shape;187;p3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188"/>
        <p:cNvGrpSpPr/>
        <p:nvPr/>
      </p:nvGrpSpPr>
      <p:grpSpPr>
        <a:xfrm>
          <a:off x="0" y="0"/>
          <a:ext cx="0" cy="0"/>
          <a:chOff x="0" y="0"/>
          <a:chExt cx="0" cy="0"/>
        </a:xfrm>
      </p:grpSpPr>
      <p:sp>
        <p:nvSpPr>
          <p:cNvPr id="189" name="Google Shape;189;p34"/>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191" name="Google Shape;191;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92" name="Google Shape;192;p34"/>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93" name="Google Shape;193;p34"/>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34"/>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34"/>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34"/>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3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98"/>
        <p:cNvGrpSpPr/>
        <p:nvPr/>
      </p:nvGrpSpPr>
      <p:grpSpPr>
        <a:xfrm>
          <a:off x="0" y="0"/>
          <a:ext cx="0" cy="0"/>
          <a:chOff x="0" y="0"/>
          <a:chExt cx="0" cy="0"/>
        </a:xfrm>
      </p:grpSpPr>
      <p:sp>
        <p:nvSpPr>
          <p:cNvPr id="199" name="Google Shape;199;p35"/>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35"/>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rtl="0">
              <a:lnSpc>
                <a:spcPct val="90000"/>
              </a:lnSpc>
              <a:spcBef>
                <a:spcPts val="0"/>
              </a:spcBef>
              <a:spcAft>
                <a:spcPts val="0"/>
              </a:spcAft>
              <a:buClr>
                <a:schemeClr val="lt1"/>
              </a:buClr>
              <a:buSzPts val="1900"/>
              <a:buNone/>
              <a:defRPr sz="1900">
                <a:solidFill>
                  <a:schemeClr val="lt1"/>
                </a:solidFill>
              </a:defRPr>
            </a:lvl1pPr>
            <a:lvl2pPr lvl="1" rtl="0">
              <a:spcBef>
                <a:spcPts val="0"/>
              </a:spcBef>
              <a:spcAft>
                <a:spcPts val="0"/>
              </a:spcAft>
              <a:buSzPts val="2300"/>
              <a:buNone/>
              <a:defRPr sz="2300"/>
            </a:lvl2pPr>
            <a:lvl3pPr lvl="2" rtl="0">
              <a:spcBef>
                <a:spcPts val="0"/>
              </a:spcBef>
              <a:spcAft>
                <a:spcPts val="0"/>
              </a:spcAft>
              <a:buSzPts val="2300"/>
              <a:buNone/>
              <a:defRPr sz="2300"/>
            </a:lvl3pPr>
            <a:lvl4pPr lvl="3" rtl="0">
              <a:spcBef>
                <a:spcPts val="0"/>
              </a:spcBef>
              <a:spcAft>
                <a:spcPts val="0"/>
              </a:spcAft>
              <a:buSzPts val="2300"/>
              <a:buNone/>
              <a:defRPr sz="2300"/>
            </a:lvl4pPr>
            <a:lvl5pPr lvl="4" rtl="0">
              <a:spcBef>
                <a:spcPts val="0"/>
              </a:spcBef>
              <a:spcAft>
                <a:spcPts val="0"/>
              </a:spcAft>
              <a:buSzPts val="2300"/>
              <a:buNone/>
              <a:defRPr sz="2300"/>
            </a:lvl5pPr>
            <a:lvl6pPr lvl="5" rtl="0">
              <a:spcBef>
                <a:spcPts val="0"/>
              </a:spcBef>
              <a:spcAft>
                <a:spcPts val="0"/>
              </a:spcAft>
              <a:buSzPts val="2300"/>
              <a:buNone/>
              <a:defRPr sz="2300"/>
            </a:lvl6pPr>
            <a:lvl7pPr lvl="6" rtl="0">
              <a:spcBef>
                <a:spcPts val="0"/>
              </a:spcBef>
              <a:spcAft>
                <a:spcPts val="0"/>
              </a:spcAft>
              <a:buSzPts val="2300"/>
              <a:buNone/>
              <a:defRPr sz="2300"/>
            </a:lvl7pPr>
            <a:lvl8pPr lvl="7" rtl="0">
              <a:spcBef>
                <a:spcPts val="0"/>
              </a:spcBef>
              <a:spcAft>
                <a:spcPts val="0"/>
              </a:spcAft>
              <a:buSzPts val="2300"/>
              <a:buNone/>
              <a:defRPr sz="2300"/>
            </a:lvl8pPr>
            <a:lvl9pPr lvl="8" rtl="0">
              <a:spcBef>
                <a:spcPts val="0"/>
              </a:spcBef>
              <a:spcAft>
                <a:spcPts val="0"/>
              </a:spcAft>
              <a:buSzPts val="2300"/>
              <a:buNone/>
              <a:defRPr sz="2300"/>
            </a:lvl9pPr>
          </a:lstStyle>
          <a:p>
            <a:endParaRPr/>
          </a:p>
        </p:txBody>
      </p:sp>
      <p:sp>
        <p:nvSpPr>
          <p:cNvPr id="201" name="Google Shape;201;p35"/>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rtl="0">
              <a:lnSpc>
                <a:spcPct val="90000"/>
              </a:lnSpc>
              <a:spcBef>
                <a:spcPts val="1000"/>
              </a:spcBef>
              <a:spcAft>
                <a:spcPts val="0"/>
              </a:spcAft>
              <a:buClr>
                <a:srgbClr val="FFFFFF"/>
              </a:buClr>
              <a:buSzPts val="1200"/>
              <a:buNone/>
              <a:defRPr sz="1200">
                <a:solidFill>
                  <a:srgbClr val="FFFFFF"/>
                </a:solidFill>
              </a:defRPr>
            </a:lvl1pPr>
            <a:lvl2pPr marL="914400" lvl="1" indent="-228600" algn="l" rtl="0">
              <a:lnSpc>
                <a:spcPct val="90000"/>
              </a:lnSpc>
              <a:spcBef>
                <a:spcPts val="500"/>
              </a:spcBef>
              <a:spcAft>
                <a:spcPts val="0"/>
              </a:spcAft>
              <a:buClr>
                <a:srgbClr val="FFFFFF"/>
              </a:buClr>
              <a:buSzPts val="1200"/>
              <a:buNone/>
              <a:defRPr sz="1200">
                <a:solidFill>
                  <a:srgbClr val="FFFFFF"/>
                </a:solidFill>
              </a:defRPr>
            </a:lvl2pPr>
            <a:lvl3pPr marL="1371600" lvl="2" indent="-228600" algn="l" rtl="0">
              <a:lnSpc>
                <a:spcPct val="90000"/>
              </a:lnSpc>
              <a:spcBef>
                <a:spcPts val="500"/>
              </a:spcBef>
              <a:spcAft>
                <a:spcPts val="0"/>
              </a:spcAft>
              <a:buClr>
                <a:srgbClr val="FFFFFF"/>
              </a:buClr>
              <a:buSzPts val="1200"/>
              <a:buNone/>
              <a:defRPr sz="1200">
                <a:solidFill>
                  <a:srgbClr val="FFFFFF"/>
                </a:solidFill>
              </a:defRPr>
            </a:lvl3pPr>
            <a:lvl4pPr marL="1828800" lvl="3" indent="-228600" algn="l" rtl="0">
              <a:lnSpc>
                <a:spcPct val="90000"/>
              </a:lnSpc>
              <a:spcBef>
                <a:spcPts val="500"/>
              </a:spcBef>
              <a:spcAft>
                <a:spcPts val="0"/>
              </a:spcAft>
              <a:buClr>
                <a:srgbClr val="FFFFFF"/>
              </a:buClr>
              <a:buSzPts val="1200"/>
              <a:buNone/>
              <a:defRPr sz="1200">
                <a:solidFill>
                  <a:srgbClr val="FFFFFF"/>
                </a:solidFill>
              </a:defRPr>
            </a:lvl4pPr>
            <a:lvl5pPr marL="2286000" lvl="4" indent="-228600" algn="l" rtl="0">
              <a:lnSpc>
                <a:spcPct val="90000"/>
              </a:lnSpc>
              <a:spcBef>
                <a:spcPts val="500"/>
              </a:spcBef>
              <a:spcAft>
                <a:spcPts val="0"/>
              </a:spcAft>
              <a:buClr>
                <a:srgbClr val="FFFFFF"/>
              </a:buClr>
              <a:buSzPts val="1200"/>
              <a:buNone/>
              <a:defRPr sz="1200">
                <a:solidFill>
                  <a:srgbClr val="FFFFFF"/>
                </a:solidFill>
              </a:defRPr>
            </a:lvl5pPr>
            <a:lvl6pPr marL="2743200" lvl="5" indent="-304800" algn="l" rtl="0">
              <a:lnSpc>
                <a:spcPct val="90000"/>
              </a:lnSpc>
              <a:spcBef>
                <a:spcPts val="500"/>
              </a:spcBef>
              <a:spcAft>
                <a:spcPts val="0"/>
              </a:spcAft>
              <a:buClr>
                <a:srgbClr val="FFFFFF"/>
              </a:buClr>
              <a:buSzPts val="1200"/>
              <a:buChar char="•"/>
              <a:defRPr sz="1200">
                <a:solidFill>
                  <a:srgbClr val="FFFFFF"/>
                </a:solidFill>
              </a:defRPr>
            </a:lvl6pPr>
            <a:lvl7pPr marL="3200400" lvl="6" indent="-304800" algn="l" rtl="0">
              <a:lnSpc>
                <a:spcPct val="90000"/>
              </a:lnSpc>
              <a:spcBef>
                <a:spcPts val="500"/>
              </a:spcBef>
              <a:spcAft>
                <a:spcPts val="0"/>
              </a:spcAft>
              <a:buClr>
                <a:srgbClr val="FFFFFF"/>
              </a:buClr>
              <a:buSzPts val="1200"/>
              <a:buChar char="•"/>
              <a:defRPr sz="1200">
                <a:solidFill>
                  <a:srgbClr val="FFFFFF"/>
                </a:solidFill>
              </a:defRPr>
            </a:lvl7pPr>
            <a:lvl8pPr marL="3657600" lvl="7" indent="-304800" algn="l" rtl="0">
              <a:lnSpc>
                <a:spcPct val="90000"/>
              </a:lnSpc>
              <a:spcBef>
                <a:spcPts val="500"/>
              </a:spcBef>
              <a:spcAft>
                <a:spcPts val="0"/>
              </a:spcAft>
              <a:buClr>
                <a:srgbClr val="FFFFFF"/>
              </a:buClr>
              <a:buSzPts val="1200"/>
              <a:buChar char="•"/>
              <a:defRPr sz="1200">
                <a:solidFill>
                  <a:srgbClr val="FFFFFF"/>
                </a:solidFill>
              </a:defRPr>
            </a:lvl8pPr>
            <a:lvl9pPr marL="4114800" lvl="8" indent="-304800" algn="l" rtl="0">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202" name="Google Shape;202;p35"/>
          <p:cNvSpPr txBox="1">
            <a:spLocks noGrp="1"/>
          </p:cNvSpPr>
          <p:nvPr>
            <p:ph type="subTitle" idx="2"/>
          </p:nvPr>
        </p:nvSpPr>
        <p:spPr>
          <a:xfrm>
            <a:off x="348925" y="2607625"/>
            <a:ext cx="2289600" cy="523200"/>
          </a:xfrm>
          <a:prstGeom prst="rect">
            <a:avLst/>
          </a:prstGeom>
        </p:spPr>
        <p:txBody>
          <a:bodyPr spcFirstLastPara="1" wrap="square" lIns="91400" tIns="91400" rIns="91400" bIns="91400" anchor="t" anchorCtr="0">
            <a:noAutofit/>
          </a:bodyPr>
          <a:lstStyle>
            <a:lvl1pPr lvl="0" algn="r" rtl="0">
              <a:spcBef>
                <a:spcPts val="0"/>
              </a:spcBef>
              <a:spcAft>
                <a:spcPts val="0"/>
              </a:spcAft>
              <a:buNone/>
              <a:defRPr sz="1300">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203" name="Google Shape;203;p35"/>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35"/>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35"/>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35"/>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3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5"/>
        <p:cNvGrpSpPr/>
        <p:nvPr/>
      </p:nvGrpSpPr>
      <p:grpSpPr>
        <a:xfrm>
          <a:off x="0" y="0"/>
          <a:ext cx="0" cy="0"/>
          <a:chOff x="0" y="0"/>
          <a:chExt cx="0" cy="0"/>
        </a:xfrm>
      </p:grpSpPr>
      <p:sp>
        <p:nvSpPr>
          <p:cNvPr id="56" name="Google Shape;56;p1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208"/>
        <p:cNvGrpSpPr/>
        <p:nvPr/>
      </p:nvGrpSpPr>
      <p:grpSpPr>
        <a:xfrm>
          <a:off x="0" y="0"/>
          <a:ext cx="0" cy="0"/>
          <a:chOff x="0" y="0"/>
          <a:chExt cx="0" cy="0"/>
        </a:xfrm>
      </p:grpSpPr>
      <p:pic>
        <p:nvPicPr>
          <p:cNvPr id="209" name="Google Shape;209;p36"/>
          <p:cNvPicPr preferRelativeResize="0"/>
          <p:nvPr/>
        </p:nvPicPr>
        <p:blipFill>
          <a:blip r:embed="rId2">
            <a:alphaModFix/>
          </a:blip>
          <a:stretch>
            <a:fillRect/>
          </a:stretch>
        </p:blipFill>
        <p:spPr>
          <a:xfrm>
            <a:off x="0" y="-500"/>
            <a:ext cx="9143995" cy="5144492"/>
          </a:xfrm>
          <a:prstGeom prst="rect">
            <a:avLst/>
          </a:prstGeom>
          <a:noFill/>
          <a:ln>
            <a:noFill/>
          </a:ln>
        </p:spPr>
      </p:pic>
      <p:pic>
        <p:nvPicPr>
          <p:cNvPr id="210" name="Google Shape;210;p36"/>
          <p:cNvPicPr preferRelativeResize="0"/>
          <p:nvPr/>
        </p:nvPicPr>
        <p:blipFill>
          <a:blip r:embed="rId3">
            <a:alphaModFix amt="64000"/>
          </a:blip>
          <a:stretch>
            <a:fillRect/>
          </a:stretch>
        </p:blipFill>
        <p:spPr>
          <a:xfrm>
            <a:off x="2887524" y="1440500"/>
            <a:ext cx="7480522" cy="3703001"/>
          </a:xfrm>
          <a:prstGeom prst="rect">
            <a:avLst/>
          </a:prstGeom>
          <a:noFill/>
          <a:ln>
            <a:noFill/>
          </a:ln>
        </p:spPr>
      </p:pic>
      <p:pic>
        <p:nvPicPr>
          <p:cNvPr id="211" name="Google Shape;211;p36"/>
          <p:cNvPicPr preferRelativeResize="0"/>
          <p:nvPr/>
        </p:nvPicPr>
        <p:blipFill>
          <a:blip r:embed="rId4">
            <a:alphaModFix amt="29000"/>
          </a:blip>
          <a:stretch>
            <a:fillRect/>
          </a:stretch>
        </p:blipFill>
        <p:spPr>
          <a:xfrm>
            <a:off x="590499" y="915528"/>
            <a:ext cx="690676" cy="524975"/>
          </a:xfrm>
          <a:prstGeom prst="rect">
            <a:avLst/>
          </a:prstGeom>
          <a:noFill/>
          <a:ln>
            <a:noFill/>
          </a:ln>
        </p:spPr>
      </p:pic>
      <p:sp>
        <p:nvSpPr>
          <p:cNvPr id="212" name="Google Shape;212;p36"/>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36"/>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36"/>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36"/>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rtl="0">
              <a:lnSpc>
                <a:spcPct val="90000"/>
              </a:lnSpc>
              <a:spcBef>
                <a:spcPts val="0"/>
              </a:spcBef>
              <a:spcAft>
                <a:spcPts val="0"/>
              </a:spcAft>
              <a:buClr>
                <a:schemeClr val="lt1"/>
              </a:buClr>
              <a:buSzPts val="3000"/>
              <a:buNone/>
              <a:defRPr sz="3000">
                <a:solidFill>
                  <a:schemeClr val="lt1"/>
                </a:solidFill>
              </a:defRPr>
            </a:lvl1pPr>
            <a:lvl2pPr lvl="1" algn="l" rtl="0">
              <a:spcBef>
                <a:spcPts val="0"/>
              </a:spcBef>
              <a:spcAft>
                <a:spcPts val="0"/>
              </a:spcAft>
              <a:buSzPts val="3400"/>
              <a:buNone/>
              <a:defRPr sz="3400"/>
            </a:lvl2pPr>
            <a:lvl3pPr lvl="2" algn="l" rtl="0">
              <a:spcBef>
                <a:spcPts val="0"/>
              </a:spcBef>
              <a:spcAft>
                <a:spcPts val="0"/>
              </a:spcAft>
              <a:buSzPts val="3400"/>
              <a:buNone/>
              <a:defRPr sz="3400"/>
            </a:lvl3pPr>
            <a:lvl4pPr lvl="3" algn="l" rtl="0">
              <a:spcBef>
                <a:spcPts val="0"/>
              </a:spcBef>
              <a:spcAft>
                <a:spcPts val="0"/>
              </a:spcAft>
              <a:buSzPts val="3400"/>
              <a:buNone/>
              <a:defRPr sz="3400"/>
            </a:lvl4pPr>
            <a:lvl5pPr lvl="4" algn="l" rtl="0">
              <a:spcBef>
                <a:spcPts val="0"/>
              </a:spcBef>
              <a:spcAft>
                <a:spcPts val="0"/>
              </a:spcAft>
              <a:buSzPts val="3400"/>
              <a:buNone/>
              <a:defRPr sz="3400"/>
            </a:lvl5pPr>
            <a:lvl6pPr lvl="5" algn="l" rtl="0">
              <a:spcBef>
                <a:spcPts val="0"/>
              </a:spcBef>
              <a:spcAft>
                <a:spcPts val="0"/>
              </a:spcAft>
              <a:buSzPts val="3400"/>
              <a:buNone/>
              <a:defRPr sz="3400"/>
            </a:lvl6pPr>
            <a:lvl7pPr lvl="6" algn="l" rtl="0">
              <a:spcBef>
                <a:spcPts val="0"/>
              </a:spcBef>
              <a:spcAft>
                <a:spcPts val="0"/>
              </a:spcAft>
              <a:buSzPts val="3400"/>
              <a:buNone/>
              <a:defRPr sz="3400"/>
            </a:lvl7pPr>
            <a:lvl8pPr lvl="7" algn="l" rtl="0">
              <a:spcBef>
                <a:spcPts val="0"/>
              </a:spcBef>
              <a:spcAft>
                <a:spcPts val="0"/>
              </a:spcAft>
              <a:buSzPts val="3400"/>
              <a:buNone/>
              <a:defRPr sz="3400"/>
            </a:lvl8pPr>
            <a:lvl9pPr lvl="8" algn="l" rtl="0">
              <a:spcBef>
                <a:spcPts val="0"/>
              </a:spcBef>
              <a:spcAft>
                <a:spcPts val="0"/>
              </a:spcAft>
              <a:buSzPts val="3400"/>
              <a:buNone/>
              <a:defRPr sz="3400"/>
            </a:lvl9pPr>
          </a:lstStyle>
          <a:p>
            <a:endParaRPr/>
          </a:p>
        </p:txBody>
      </p:sp>
      <p:sp>
        <p:nvSpPr>
          <p:cNvPr id="216" name="Google Shape;216;p3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217"/>
        <p:cNvGrpSpPr/>
        <p:nvPr/>
      </p:nvGrpSpPr>
      <p:grpSpPr>
        <a:xfrm>
          <a:off x="0" y="0"/>
          <a:ext cx="0" cy="0"/>
          <a:chOff x="0" y="0"/>
          <a:chExt cx="0" cy="0"/>
        </a:xfrm>
      </p:grpSpPr>
      <p:sp>
        <p:nvSpPr>
          <p:cNvPr id="218" name="Google Shape;218;p37"/>
          <p:cNvSpPr txBox="1">
            <a:spLocks noGrp="1"/>
          </p:cNvSpPr>
          <p:nvPr>
            <p:ph type="title"/>
          </p:nvPr>
        </p:nvSpPr>
        <p:spPr>
          <a:xfrm>
            <a:off x="311700" y="445025"/>
            <a:ext cx="8520600" cy="572700"/>
          </a:xfrm>
          <a:prstGeom prst="rect">
            <a:avLst/>
          </a:prstGeom>
        </p:spPr>
        <p:txBody>
          <a:bodyPr spcFirstLastPara="1" wrap="square" lIns="91400" tIns="91400" rIns="91400" bIns="91400" anchor="b" anchorCtr="0">
            <a:noAutofit/>
          </a:bodyPr>
          <a:lstStyle>
            <a:lvl1pPr lvl="0" rtl="0">
              <a:spcBef>
                <a:spcPts val="0"/>
              </a:spcBef>
              <a:spcAft>
                <a:spcPts val="0"/>
              </a:spcAft>
              <a:buSzPts val="3000"/>
              <a:buNone/>
              <a:defRPr sz="3000"/>
            </a:lvl1pPr>
            <a:lvl2pPr lvl="1" rtl="0">
              <a:spcBef>
                <a:spcPts val="0"/>
              </a:spcBef>
              <a:spcAft>
                <a:spcPts val="0"/>
              </a:spcAft>
              <a:buSzPts val="5100"/>
              <a:buNone/>
              <a:defRPr/>
            </a:lvl2pPr>
            <a:lvl3pPr lvl="2" rtl="0">
              <a:spcBef>
                <a:spcPts val="0"/>
              </a:spcBef>
              <a:spcAft>
                <a:spcPts val="0"/>
              </a:spcAft>
              <a:buSzPts val="5100"/>
              <a:buNone/>
              <a:defRPr/>
            </a:lvl3pPr>
            <a:lvl4pPr lvl="3" rtl="0">
              <a:spcBef>
                <a:spcPts val="0"/>
              </a:spcBef>
              <a:spcAft>
                <a:spcPts val="0"/>
              </a:spcAft>
              <a:buSzPts val="5100"/>
              <a:buNone/>
              <a:defRPr/>
            </a:lvl4pPr>
            <a:lvl5pPr lvl="4" rtl="0">
              <a:spcBef>
                <a:spcPts val="0"/>
              </a:spcBef>
              <a:spcAft>
                <a:spcPts val="0"/>
              </a:spcAft>
              <a:buSzPts val="5100"/>
              <a:buNone/>
              <a:defRPr/>
            </a:lvl5pPr>
            <a:lvl6pPr lvl="5" rtl="0">
              <a:spcBef>
                <a:spcPts val="0"/>
              </a:spcBef>
              <a:spcAft>
                <a:spcPts val="0"/>
              </a:spcAft>
              <a:buSzPts val="5100"/>
              <a:buNone/>
              <a:defRPr/>
            </a:lvl6pPr>
            <a:lvl7pPr lvl="6" rtl="0">
              <a:spcBef>
                <a:spcPts val="0"/>
              </a:spcBef>
              <a:spcAft>
                <a:spcPts val="0"/>
              </a:spcAft>
              <a:buSzPts val="5100"/>
              <a:buNone/>
              <a:defRPr/>
            </a:lvl7pPr>
            <a:lvl8pPr lvl="7" rtl="0">
              <a:spcBef>
                <a:spcPts val="0"/>
              </a:spcBef>
              <a:spcAft>
                <a:spcPts val="0"/>
              </a:spcAft>
              <a:buSzPts val="5100"/>
              <a:buNone/>
              <a:defRPr/>
            </a:lvl8pPr>
            <a:lvl9pPr lvl="8" rtl="0">
              <a:spcBef>
                <a:spcPts val="0"/>
              </a:spcBef>
              <a:spcAft>
                <a:spcPts val="0"/>
              </a:spcAft>
              <a:buSzPts val="5100"/>
              <a:buNone/>
              <a:defRPr/>
            </a:lvl9pPr>
          </a:lstStyle>
          <a:p>
            <a:endParaRPr/>
          </a:p>
        </p:txBody>
      </p:sp>
      <p:sp>
        <p:nvSpPr>
          <p:cNvPr id="219" name="Google Shape;219;p37"/>
          <p:cNvSpPr txBox="1">
            <a:spLocks noGrp="1"/>
          </p:cNvSpPr>
          <p:nvPr>
            <p:ph type="body" idx="1"/>
          </p:nvPr>
        </p:nvSpPr>
        <p:spPr>
          <a:xfrm>
            <a:off x="311700" y="1152475"/>
            <a:ext cx="8520600" cy="3416400"/>
          </a:xfrm>
          <a:prstGeom prst="rect">
            <a:avLst/>
          </a:prstGeom>
        </p:spPr>
        <p:txBody>
          <a:bodyPr spcFirstLastPara="1" wrap="square" lIns="91400" tIns="91400" rIns="91400" bIns="91400" anchor="t" anchorCtr="0">
            <a:noAutofit/>
          </a:bodyPr>
          <a:lstStyle>
            <a:lvl1pPr marL="457200" lvl="0" indent="-228600" rtl="0">
              <a:spcBef>
                <a:spcPts val="0"/>
              </a:spcBef>
              <a:spcAft>
                <a:spcPts val="0"/>
              </a:spcAft>
              <a:buSzPts val="1500"/>
              <a:buNone/>
              <a:defRPr sz="1500"/>
            </a:lvl1pPr>
            <a:lvl2pPr marL="914400" lvl="1" indent="-228600" rtl="0">
              <a:spcBef>
                <a:spcPts val="0"/>
              </a:spcBef>
              <a:spcAft>
                <a:spcPts val="0"/>
              </a:spcAft>
              <a:buSzPts val="1500"/>
              <a:buNone/>
              <a:defRPr sz="1500"/>
            </a:lvl2pPr>
            <a:lvl3pPr marL="1371600" lvl="2" indent="-228600" rtl="0">
              <a:spcBef>
                <a:spcPts val="0"/>
              </a:spcBef>
              <a:spcAft>
                <a:spcPts val="0"/>
              </a:spcAft>
              <a:buSzPts val="1500"/>
              <a:buNone/>
              <a:defRPr sz="1500"/>
            </a:lvl3pPr>
            <a:lvl4pPr marL="1828800" lvl="3" indent="-228600" rtl="0">
              <a:spcBef>
                <a:spcPts val="0"/>
              </a:spcBef>
              <a:spcAft>
                <a:spcPts val="0"/>
              </a:spcAft>
              <a:buSzPts val="1500"/>
              <a:buNone/>
              <a:defRPr sz="1500"/>
            </a:lvl4pPr>
            <a:lvl5pPr marL="2286000" lvl="4" indent="-228600" rtl="0">
              <a:spcBef>
                <a:spcPts val="0"/>
              </a:spcBef>
              <a:spcAft>
                <a:spcPts val="0"/>
              </a:spcAft>
              <a:buSzPts val="1500"/>
              <a:buNone/>
              <a:defRPr sz="1500"/>
            </a:lvl5pPr>
            <a:lvl6pPr marL="2743200" lvl="5" indent="-323850" rtl="0">
              <a:spcBef>
                <a:spcPts val="0"/>
              </a:spcBef>
              <a:spcAft>
                <a:spcPts val="0"/>
              </a:spcAft>
              <a:buSzPts val="1500"/>
              <a:buChar char="•"/>
              <a:defRPr sz="1500"/>
            </a:lvl6pPr>
            <a:lvl7pPr marL="3200400" lvl="6" indent="-323850" rtl="0">
              <a:spcBef>
                <a:spcPts val="0"/>
              </a:spcBef>
              <a:spcAft>
                <a:spcPts val="0"/>
              </a:spcAft>
              <a:buSzPts val="1500"/>
              <a:buChar char="•"/>
              <a:defRPr sz="1500"/>
            </a:lvl7pPr>
            <a:lvl8pPr marL="3657600" lvl="7" indent="-323850" rtl="0">
              <a:spcBef>
                <a:spcPts val="0"/>
              </a:spcBef>
              <a:spcAft>
                <a:spcPts val="0"/>
              </a:spcAft>
              <a:buSzPts val="1500"/>
              <a:buChar char="•"/>
              <a:defRPr sz="1500"/>
            </a:lvl8pPr>
            <a:lvl9pPr marL="4114800" lvl="8" indent="-323850" rtl="0">
              <a:spcBef>
                <a:spcPts val="0"/>
              </a:spcBef>
              <a:spcAft>
                <a:spcPts val="0"/>
              </a:spcAft>
              <a:buSzPts val="1500"/>
              <a:buChar char="•"/>
              <a:defRPr sz="1500"/>
            </a:lvl9pPr>
          </a:lstStyle>
          <a:p>
            <a:endParaRPr/>
          </a:p>
        </p:txBody>
      </p:sp>
      <p:sp>
        <p:nvSpPr>
          <p:cNvPr id="220" name="Google Shape;220;p3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221"/>
        <p:cNvGrpSpPr/>
        <p:nvPr/>
      </p:nvGrpSpPr>
      <p:grpSpPr>
        <a:xfrm>
          <a:off x="0" y="0"/>
          <a:ext cx="0" cy="0"/>
          <a:chOff x="0" y="0"/>
          <a:chExt cx="0" cy="0"/>
        </a:xfrm>
      </p:grpSpPr>
      <p:sp>
        <p:nvSpPr>
          <p:cNvPr id="222" name="Google Shape;222;p38"/>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223"/>
        <p:cNvGrpSpPr/>
        <p:nvPr/>
      </p:nvGrpSpPr>
      <p:grpSpPr>
        <a:xfrm>
          <a:off x="0" y="0"/>
          <a:ext cx="0" cy="0"/>
          <a:chOff x="0" y="0"/>
          <a:chExt cx="0" cy="0"/>
        </a:xfrm>
      </p:grpSpPr>
      <p:sp>
        <p:nvSpPr>
          <p:cNvPr id="224" name="Google Shape;224;p39"/>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225" name="Google Shape;225;p39"/>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1pPr>
            <a:lvl2pPr marL="0" lvl="1"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2pPr>
            <a:lvl3pPr marL="0" lvl="2"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3pPr>
            <a:lvl4pPr marL="0" lvl="3"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4pPr>
            <a:lvl5pPr marL="0" lvl="4"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5pPr>
            <a:lvl6pPr marL="0" lvl="5"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6pPr>
            <a:lvl7pPr marL="0" lvl="6"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7pPr>
            <a:lvl8pPr marL="0" lvl="7"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8pPr>
            <a:lvl9pPr marL="0" lvl="8" indent="0" algn="r" rtl="0">
              <a:lnSpc>
                <a:spcPct val="100000"/>
              </a:lnSpc>
              <a:spcBef>
                <a:spcPts val="0"/>
              </a:spcBef>
              <a:spcAft>
                <a:spcPts val="0"/>
              </a:spcAft>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714373" y="243000"/>
            <a:ext cx="8424000"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4"/>
          <p:cNvSpPr txBox="1">
            <a:spLocks noGrp="1"/>
          </p:cNvSpPr>
          <p:nvPr>
            <p:ph type="body" idx="1"/>
          </p:nvPr>
        </p:nvSpPr>
        <p:spPr>
          <a:xfrm>
            <a:off x="621000" y="1134000"/>
            <a:ext cx="7884000" cy="3510000"/>
          </a:xfrm>
          <a:prstGeom prst="rect">
            <a:avLst/>
          </a:prstGeom>
          <a:noFill/>
          <a:ln>
            <a:noFill/>
          </a:ln>
        </p:spPr>
        <p:txBody>
          <a:bodyPr spcFirstLastPara="1" wrap="square" lIns="90000" tIns="46800" rIns="91425" bIns="45700" anchor="t" anchorCtr="0">
            <a:noAutofit/>
          </a:bodyPr>
          <a:lstStyle>
            <a:lvl1pPr marL="342900" lvl="0" indent="-285750" algn="l">
              <a:lnSpc>
                <a:spcPct val="90000"/>
              </a:lnSpc>
              <a:spcBef>
                <a:spcPts val="750"/>
              </a:spcBef>
              <a:spcAft>
                <a:spcPts val="0"/>
              </a:spcAft>
              <a:buClr>
                <a:srgbClr val="3F3F3F"/>
              </a:buClr>
              <a:buSzPts val="2400"/>
              <a:buFont typeface="Helvetica Neue Light"/>
              <a:buChar char="•"/>
              <a:defRPr sz="1800"/>
            </a:lvl1pPr>
            <a:lvl2pPr marL="685800" lvl="1" indent="-276225" algn="l">
              <a:lnSpc>
                <a:spcPct val="90000"/>
              </a:lnSpc>
              <a:spcBef>
                <a:spcPts val="375"/>
              </a:spcBef>
              <a:spcAft>
                <a:spcPts val="0"/>
              </a:spcAft>
              <a:buClr>
                <a:srgbClr val="3F3F3F"/>
              </a:buClr>
              <a:buSzPts val="2200"/>
              <a:buFont typeface="Helvetica Neue Light"/>
              <a:buChar char="•"/>
              <a:defRPr sz="1650"/>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 name="Google Shape;23;p4"/>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478468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714653" y="243000"/>
            <a:ext cx="8424000" cy="6804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3200"/>
              <a:buFont typeface="Helvetica Neue Light"/>
              <a:buNone/>
              <a:defRPr sz="2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6"/>
          <p:cNvSpPr txBox="1">
            <a:spLocks noGrp="1"/>
          </p:cNvSpPr>
          <p:nvPr>
            <p:ph type="body" idx="1"/>
          </p:nvPr>
        </p:nvSpPr>
        <p:spPr>
          <a:xfrm>
            <a:off x="621000" y="1146230"/>
            <a:ext cx="7884000" cy="3510000"/>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888888"/>
              </a:buClr>
              <a:buSzPts val="1800"/>
              <a:buFont typeface="Helvetica Neue Light"/>
              <a:buNone/>
              <a:defRPr sz="1350">
                <a:solidFill>
                  <a:srgbClr val="888888"/>
                </a:solidFill>
              </a:defRPr>
            </a:lvl1pPr>
            <a:lvl2pPr marL="685800" lvl="1" indent="-171450" algn="l">
              <a:lnSpc>
                <a:spcPct val="90000"/>
              </a:lnSpc>
              <a:spcBef>
                <a:spcPts val="375"/>
              </a:spcBef>
              <a:spcAft>
                <a:spcPts val="0"/>
              </a:spcAft>
              <a:buClr>
                <a:srgbClr val="888888"/>
              </a:buClr>
              <a:buSzPts val="2000"/>
              <a:buFont typeface="Helvetica Neue Light"/>
              <a:buNone/>
              <a:defRPr sz="1500">
                <a:solidFill>
                  <a:srgbClr val="888888"/>
                </a:solidFill>
              </a:defRPr>
            </a:lvl2pPr>
            <a:lvl3pPr marL="1028700" lvl="2" indent="-171450" algn="l">
              <a:lnSpc>
                <a:spcPct val="90000"/>
              </a:lnSpc>
              <a:spcBef>
                <a:spcPts val="375"/>
              </a:spcBef>
              <a:spcAft>
                <a:spcPts val="0"/>
              </a:spcAft>
              <a:buClr>
                <a:srgbClr val="888888"/>
              </a:buClr>
              <a:buSzPts val="1800"/>
              <a:buFont typeface="Helvetica Neue Light"/>
              <a:buNone/>
              <a:defRPr sz="1350">
                <a:solidFill>
                  <a:srgbClr val="888888"/>
                </a:solidFill>
              </a:defRPr>
            </a:lvl3pPr>
            <a:lvl4pPr marL="1371600" lvl="3" indent="-171450" algn="l">
              <a:lnSpc>
                <a:spcPct val="90000"/>
              </a:lnSpc>
              <a:spcBef>
                <a:spcPts val="375"/>
              </a:spcBef>
              <a:spcAft>
                <a:spcPts val="0"/>
              </a:spcAft>
              <a:buClr>
                <a:srgbClr val="888888"/>
              </a:buClr>
              <a:buSzPts val="1600"/>
              <a:buFont typeface="Helvetica Neue Light"/>
              <a:buNone/>
              <a:defRPr sz="1200">
                <a:solidFill>
                  <a:srgbClr val="888888"/>
                </a:solidFill>
              </a:defRPr>
            </a:lvl4pPr>
            <a:lvl5pPr marL="1714500" lvl="4" indent="-171450" algn="l">
              <a:lnSpc>
                <a:spcPct val="90000"/>
              </a:lnSpc>
              <a:spcBef>
                <a:spcPts val="375"/>
              </a:spcBef>
              <a:spcAft>
                <a:spcPts val="0"/>
              </a:spcAft>
              <a:buClr>
                <a:srgbClr val="888888"/>
              </a:buClr>
              <a:buSzPts val="1600"/>
              <a:buFont typeface="Helvetica Neue Light"/>
              <a:buNone/>
              <a:defRPr sz="1200">
                <a:solidFill>
                  <a:srgbClr val="888888"/>
                </a:solidFill>
              </a:defRPr>
            </a:lvl5pPr>
            <a:lvl6pPr marL="2057400" lvl="5" indent="-171450" algn="l">
              <a:lnSpc>
                <a:spcPct val="90000"/>
              </a:lnSpc>
              <a:spcBef>
                <a:spcPts val="375"/>
              </a:spcBef>
              <a:spcAft>
                <a:spcPts val="0"/>
              </a:spcAft>
              <a:buClr>
                <a:srgbClr val="888888"/>
              </a:buClr>
              <a:buSzPts val="1600"/>
              <a:buNone/>
              <a:defRPr sz="1200">
                <a:solidFill>
                  <a:srgbClr val="888888"/>
                </a:solidFill>
              </a:defRPr>
            </a:lvl6pPr>
            <a:lvl7pPr marL="2400300" lvl="6" indent="-171450" algn="l">
              <a:lnSpc>
                <a:spcPct val="90000"/>
              </a:lnSpc>
              <a:spcBef>
                <a:spcPts val="375"/>
              </a:spcBef>
              <a:spcAft>
                <a:spcPts val="0"/>
              </a:spcAft>
              <a:buClr>
                <a:srgbClr val="888888"/>
              </a:buClr>
              <a:buSzPts val="1600"/>
              <a:buNone/>
              <a:defRPr sz="1200">
                <a:solidFill>
                  <a:srgbClr val="888888"/>
                </a:solidFill>
              </a:defRPr>
            </a:lvl7pPr>
            <a:lvl8pPr marL="2743200" lvl="7" indent="-171450" algn="l">
              <a:lnSpc>
                <a:spcPct val="90000"/>
              </a:lnSpc>
              <a:spcBef>
                <a:spcPts val="375"/>
              </a:spcBef>
              <a:spcAft>
                <a:spcPts val="0"/>
              </a:spcAft>
              <a:buClr>
                <a:srgbClr val="888888"/>
              </a:buClr>
              <a:buSzPts val="1600"/>
              <a:buNone/>
              <a:defRPr sz="1200">
                <a:solidFill>
                  <a:srgbClr val="888888"/>
                </a:solidFill>
              </a:defRPr>
            </a:lvl8pPr>
            <a:lvl9pPr marL="3086100" lvl="8" indent="-171450" algn="l">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30" name="Google Shape;30;p6"/>
          <p:cNvSpPr txBox="1">
            <a:spLocks noGrp="1"/>
          </p:cNvSpPr>
          <p:nvPr>
            <p:ph type="sldNum" idx="12"/>
          </p:nvPr>
        </p:nvSpPr>
        <p:spPr>
          <a:xfrm>
            <a:off x="8505000" y="4902994"/>
            <a:ext cx="625550" cy="223841"/>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1pPr>
            <a:lvl2pPr marL="0" marR="0" lvl="1"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2pPr>
            <a:lvl3pPr marL="0" marR="0" lvl="2"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3pPr>
            <a:lvl4pPr marL="0" marR="0" lvl="3"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4pPr>
            <a:lvl5pPr marL="0" marR="0" lvl="4"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5pPr>
            <a:lvl6pPr marL="0" marR="0" lvl="5"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6pPr>
            <a:lvl7pPr marL="0" marR="0" lvl="6"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7pPr>
            <a:lvl8pPr marL="0" marR="0" lvl="7"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8pPr>
            <a:lvl9pPr marL="0" marR="0" lvl="8" indent="0" algn="ctr">
              <a:lnSpc>
                <a:spcPct val="100000"/>
              </a:lnSpc>
              <a:spcBef>
                <a:spcPts val="0"/>
              </a:spcBef>
              <a:spcAft>
                <a:spcPts val="0"/>
              </a:spcAft>
              <a:buClr>
                <a:srgbClr val="000000"/>
              </a:buClr>
              <a:buSzPts val="1600"/>
              <a:buFont typeface="Arial"/>
              <a:buNone/>
              <a:defRPr sz="1200" b="0" i="0" u="none" strike="noStrike" cap="none">
                <a:solidFill>
                  <a:schemeClr val="lt1"/>
                </a:solidFill>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0605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new section">
  <p:cSld name="new section">
    <p:bg>
      <p:bgPr>
        <a:blipFill>
          <a:blip r:embed="rId2">
            <a:alphaModFix/>
          </a:blip>
          <a:stretch>
            <a:fillRect/>
          </a:stretch>
        </a:blipFill>
        <a:effectLst/>
      </p:bgPr>
    </p:bg>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1906" y="289234"/>
            <a:ext cx="6598259" cy="68103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23344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5"/>
          <p:cNvSpPr txBox="1">
            <a:spLocks noGrp="1"/>
          </p:cNvSpPr>
          <p:nvPr>
            <p:ph type="body" idx="1"/>
          </p:nvPr>
        </p:nvSpPr>
        <p:spPr>
          <a:xfrm>
            <a:off x="1479948" y="3567113"/>
            <a:ext cx="3092053" cy="1002506"/>
          </a:xfrm>
          <a:prstGeom prst="rect">
            <a:avLst/>
          </a:prstGeom>
          <a:noFill/>
          <a:ln>
            <a:noFill/>
          </a:ln>
        </p:spPr>
        <p:txBody>
          <a:bodyPr spcFirstLastPara="1" wrap="square" lIns="90000" tIns="46800" rIns="91425" bIns="45700" anchor="t" anchorCtr="0">
            <a:noAutofit/>
          </a:bodyPr>
          <a:lstStyle>
            <a:lvl1pPr marL="342900" lvl="0" indent="-171450" algn="l">
              <a:lnSpc>
                <a:spcPct val="90000"/>
              </a:lnSpc>
              <a:spcBef>
                <a:spcPts val="750"/>
              </a:spcBef>
              <a:spcAft>
                <a:spcPts val="0"/>
              </a:spcAft>
              <a:buClr>
                <a:srgbClr val="3F3F3F"/>
              </a:buClr>
              <a:buSzPts val="2400"/>
              <a:buFont typeface="Helvetica Neue Light"/>
              <a:buNone/>
              <a:defRPr/>
            </a:lvl1pPr>
            <a:lvl2pPr marL="685800" lvl="1" indent="-257175" algn="l">
              <a:lnSpc>
                <a:spcPct val="90000"/>
              </a:lnSpc>
              <a:spcBef>
                <a:spcPts val="375"/>
              </a:spcBef>
              <a:spcAft>
                <a:spcPts val="0"/>
              </a:spcAft>
              <a:buClr>
                <a:srgbClr val="3F3F3F"/>
              </a:buClr>
              <a:buSzPts val="1800"/>
              <a:buChar char="•"/>
              <a:defRPr/>
            </a:lvl2pPr>
            <a:lvl3pPr marL="1028700" lvl="2" indent="-257175" algn="l">
              <a:lnSpc>
                <a:spcPct val="90000"/>
              </a:lnSpc>
              <a:spcBef>
                <a:spcPts val="375"/>
              </a:spcBef>
              <a:spcAft>
                <a:spcPts val="0"/>
              </a:spcAft>
              <a:buClr>
                <a:srgbClr val="3F3F3F"/>
              </a:buClr>
              <a:buSzPts val="1800"/>
              <a:buChar char="•"/>
              <a:defRPr/>
            </a:lvl3pPr>
            <a:lvl4pPr marL="1371600" lvl="3" indent="-257175" algn="l">
              <a:lnSpc>
                <a:spcPct val="90000"/>
              </a:lnSpc>
              <a:spcBef>
                <a:spcPts val="375"/>
              </a:spcBef>
              <a:spcAft>
                <a:spcPts val="0"/>
              </a:spcAft>
              <a:buClr>
                <a:srgbClr val="3F3F3F"/>
              </a:buClr>
              <a:buSzPts val="1800"/>
              <a:buChar char="•"/>
              <a:defRPr/>
            </a:lvl4pPr>
            <a:lvl5pPr marL="1714500" lvl="4" indent="-257175" algn="l">
              <a:lnSpc>
                <a:spcPct val="90000"/>
              </a:lnSpc>
              <a:spcBef>
                <a:spcPts val="375"/>
              </a:spcBef>
              <a:spcAft>
                <a:spcPts val="0"/>
              </a:spcAft>
              <a:buClr>
                <a:srgbClr val="3F3F3F"/>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5379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189" lvl="0" indent="-342892">
              <a:spcBef>
                <a:spcPts val="0"/>
              </a:spcBef>
              <a:spcAft>
                <a:spcPts val="0"/>
              </a:spcAft>
              <a:buSzPts val="1800"/>
              <a:buChar char="●"/>
              <a:defRPr/>
            </a:lvl1pPr>
            <a:lvl2pPr marL="914378"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2"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136946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3998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3 column 2 1">
  <p:cSld name="3 column 2 1">
    <p:bg>
      <p:bgPr>
        <a:solidFill>
          <a:schemeClr val="lt1"/>
        </a:solidFill>
        <a:effectLst/>
      </p:bgPr>
    </p:bg>
    <p:spTree>
      <p:nvGrpSpPr>
        <p:cNvPr id="1" name="Shape 18"/>
        <p:cNvGrpSpPr/>
        <p:nvPr/>
      </p:nvGrpSpPr>
      <p:grpSpPr>
        <a:xfrm>
          <a:off x="0" y="0"/>
          <a:ext cx="0" cy="0"/>
          <a:chOff x="0" y="0"/>
          <a:chExt cx="0" cy="0"/>
        </a:xfrm>
      </p:grpSpPr>
      <p:sp>
        <p:nvSpPr>
          <p:cNvPr id="19" name="Google Shape;19;p2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Clr>
                <a:schemeClr val="dk1"/>
              </a:buClr>
              <a:buSzPts val="2400"/>
              <a:buNone/>
              <a:defRPr sz="2400">
                <a:solidFill>
                  <a:schemeClr val="dk1"/>
                </a:solidFill>
              </a:defRPr>
            </a:lvl2pPr>
            <a:lvl3pPr lvl="2" algn="l">
              <a:lnSpc>
                <a:spcPct val="100000"/>
              </a:lnSpc>
              <a:spcBef>
                <a:spcPts val="0"/>
              </a:spcBef>
              <a:spcAft>
                <a:spcPts val="0"/>
              </a:spcAft>
              <a:buClr>
                <a:schemeClr val="dk1"/>
              </a:buClr>
              <a:buSzPts val="2400"/>
              <a:buNone/>
              <a:defRPr sz="2400">
                <a:solidFill>
                  <a:schemeClr val="dk1"/>
                </a:solidFill>
              </a:defRPr>
            </a:lvl3pPr>
            <a:lvl4pPr lvl="3" algn="l">
              <a:lnSpc>
                <a:spcPct val="100000"/>
              </a:lnSpc>
              <a:spcBef>
                <a:spcPts val="0"/>
              </a:spcBef>
              <a:spcAft>
                <a:spcPts val="0"/>
              </a:spcAft>
              <a:buClr>
                <a:schemeClr val="dk1"/>
              </a:buClr>
              <a:buSzPts val="2400"/>
              <a:buNone/>
              <a:defRPr sz="2400">
                <a:solidFill>
                  <a:schemeClr val="dk1"/>
                </a:solidFill>
              </a:defRPr>
            </a:lvl4pPr>
            <a:lvl5pPr lvl="4" algn="l">
              <a:lnSpc>
                <a:spcPct val="100000"/>
              </a:lnSpc>
              <a:spcBef>
                <a:spcPts val="0"/>
              </a:spcBef>
              <a:spcAft>
                <a:spcPts val="0"/>
              </a:spcAft>
              <a:buClr>
                <a:schemeClr val="dk1"/>
              </a:buClr>
              <a:buSzPts val="2400"/>
              <a:buNone/>
              <a:defRPr sz="2400">
                <a:solidFill>
                  <a:schemeClr val="dk1"/>
                </a:solidFill>
              </a:defRPr>
            </a:lvl5pPr>
            <a:lvl6pPr lvl="5" algn="l">
              <a:lnSpc>
                <a:spcPct val="100000"/>
              </a:lnSpc>
              <a:spcBef>
                <a:spcPts val="0"/>
              </a:spcBef>
              <a:spcAft>
                <a:spcPts val="0"/>
              </a:spcAft>
              <a:buClr>
                <a:schemeClr val="dk1"/>
              </a:buClr>
              <a:buSzPts val="2400"/>
              <a:buNone/>
              <a:defRPr sz="2400">
                <a:solidFill>
                  <a:schemeClr val="dk1"/>
                </a:solidFill>
              </a:defRPr>
            </a:lvl6pPr>
            <a:lvl7pPr lvl="6" algn="l">
              <a:lnSpc>
                <a:spcPct val="100000"/>
              </a:lnSpc>
              <a:spcBef>
                <a:spcPts val="0"/>
              </a:spcBef>
              <a:spcAft>
                <a:spcPts val="0"/>
              </a:spcAft>
              <a:buClr>
                <a:schemeClr val="dk1"/>
              </a:buClr>
              <a:buSzPts val="2400"/>
              <a:buNone/>
              <a:defRPr sz="2400">
                <a:solidFill>
                  <a:schemeClr val="dk1"/>
                </a:solidFill>
              </a:defRPr>
            </a:lvl7pPr>
            <a:lvl8pPr lvl="7" algn="l">
              <a:lnSpc>
                <a:spcPct val="100000"/>
              </a:lnSpc>
              <a:spcBef>
                <a:spcPts val="0"/>
              </a:spcBef>
              <a:spcAft>
                <a:spcPts val="0"/>
              </a:spcAft>
              <a:buClr>
                <a:schemeClr val="dk1"/>
              </a:buClr>
              <a:buSzPts val="2400"/>
              <a:buNone/>
              <a:defRPr sz="2400">
                <a:solidFill>
                  <a:schemeClr val="dk1"/>
                </a:solidFill>
              </a:defRPr>
            </a:lvl8pPr>
            <a:lvl9pPr lvl="8" algn="l">
              <a:lnSpc>
                <a:spcPct val="100000"/>
              </a:lnSpc>
              <a:spcBef>
                <a:spcPts val="0"/>
              </a:spcBef>
              <a:spcAft>
                <a:spcPts val="0"/>
              </a:spcAft>
              <a:buClr>
                <a:schemeClr val="dk1"/>
              </a:buClr>
              <a:buSzPts val="2400"/>
              <a:buNone/>
              <a:defRPr sz="2400">
                <a:solidFill>
                  <a:schemeClr val="dk1"/>
                </a:solidFill>
              </a:defRPr>
            </a:lvl9pPr>
          </a:lstStyle>
          <a:p>
            <a:endParaRPr/>
          </a:p>
        </p:txBody>
      </p:sp>
      <p:sp>
        <p:nvSpPr>
          <p:cNvPr id="20" name="Google Shape;20;p257"/>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57"/>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 name="Google Shape;22;p257"/>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 name="Google Shape;23;p257"/>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4" name="Google Shape;24;p257"/>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Clr>
                <a:schemeClr val="dk1"/>
              </a:buClr>
              <a:buSzPts val="1500"/>
              <a:buNone/>
              <a:defRPr sz="1500">
                <a:solidFill>
                  <a:schemeClr val="dk1"/>
                </a:solidFill>
              </a:defRPr>
            </a:lvl1pPr>
            <a:lvl2pPr marL="914400" lvl="1" indent="-228600" algn="l">
              <a:lnSpc>
                <a:spcPct val="100000"/>
              </a:lnSpc>
              <a:spcBef>
                <a:spcPts val="0"/>
              </a:spcBef>
              <a:spcAft>
                <a:spcPts val="0"/>
              </a:spcAft>
              <a:buClr>
                <a:schemeClr val="dk1"/>
              </a:buClr>
              <a:buSzPts val="1500"/>
              <a:buNone/>
              <a:defRPr sz="1500">
                <a:solidFill>
                  <a:schemeClr val="dk1"/>
                </a:solidFill>
              </a:defRPr>
            </a:lvl2pPr>
            <a:lvl3pPr marL="1371600" lvl="2" indent="-228600" algn="l">
              <a:lnSpc>
                <a:spcPct val="100000"/>
              </a:lnSpc>
              <a:spcBef>
                <a:spcPts val="0"/>
              </a:spcBef>
              <a:spcAft>
                <a:spcPts val="0"/>
              </a:spcAft>
              <a:buClr>
                <a:schemeClr val="dk1"/>
              </a:buClr>
              <a:buSzPts val="1500"/>
              <a:buNone/>
              <a:defRPr sz="1500">
                <a:solidFill>
                  <a:schemeClr val="dk1"/>
                </a:solidFill>
              </a:defRPr>
            </a:lvl3pPr>
            <a:lvl4pPr marL="1828800" lvl="3" indent="-228600" algn="l">
              <a:lnSpc>
                <a:spcPct val="100000"/>
              </a:lnSpc>
              <a:spcBef>
                <a:spcPts val="0"/>
              </a:spcBef>
              <a:spcAft>
                <a:spcPts val="0"/>
              </a:spcAft>
              <a:buClr>
                <a:schemeClr val="dk1"/>
              </a:buClr>
              <a:buSzPts val="1500"/>
              <a:buNone/>
              <a:defRPr sz="1500">
                <a:solidFill>
                  <a:schemeClr val="dk1"/>
                </a:solidFill>
              </a:defRPr>
            </a:lvl4pPr>
            <a:lvl5pPr marL="2286000" lvl="4" indent="-228600" algn="l">
              <a:lnSpc>
                <a:spcPct val="100000"/>
              </a:lnSpc>
              <a:spcBef>
                <a:spcPts val="0"/>
              </a:spcBef>
              <a:spcAft>
                <a:spcPts val="0"/>
              </a:spcAft>
              <a:buClr>
                <a:schemeClr val="dk1"/>
              </a:buClr>
              <a:buSzPts val="1500"/>
              <a:buNone/>
              <a:defRPr sz="1500">
                <a:solidFill>
                  <a:schemeClr val="dk1"/>
                </a:solidFill>
              </a:defRPr>
            </a:lvl5pPr>
            <a:lvl6pPr marL="2743200" lvl="5" indent="-323850" algn="l">
              <a:lnSpc>
                <a:spcPct val="100000"/>
              </a:lnSpc>
              <a:spcBef>
                <a:spcPts val="0"/>
              </a:spcBef>
              <a:spcAft>
                <a:spcPts val="0"/>
              </a:spcAft>
              <a:buClr>
                <a:schemeClr val="dk1"/>
              </a:buClr>
              <a:buSzPts val="1500"/>
              <a:buChar char="•"/>
              <a:defRPr sz="1500">
                <a:solidFill>
                  <a:schemeClr val="dk1"/>
                </a:solidFill>
              </a:defRPr>
            </a:lvl6pPr>
            <a:lvl7pPr marL="3200400" lvl="6" indent="-323850" algn="l">
              <a:lnSpc>
                <a:spcPct val="100000"/>
              </a:lnSpc>
              <a:spcBef>
                <a:spcPts val="0"/>
              </a:spcBef>
              <a:spcAft>
                <a:spcPts val="0"/>
              </a:spcAft>
              <a:buClr>
                <a:schemeClr val="dk1"/>
              </a:buClr>
              <a:buSzPts val="1500"/>
              <a:buChar char="•"/>
              <a:defRPr sz="1500">
                <a:solidFill>
                  <a:schemeClr val="dk1"/>
                </a:solidFill>
              </a:defRPr>
            </a:lvl7pPr>
            <a:lvl8pPr marL="3657600" lvl="7" indent="-323850" algn="l">
              <a:lnSpc>
                <a:spcPct val="100000"/>
              </a:lnSpc>
              <a:spcBef>
                <a:spcPts val="0"/>
              </a:spcBef>
              <a:spcAft>
                <a:spcPts val="0"/>
              </a:spcAft>
              <a:buClr>
                <a:schemeClr val="dk1"/>
              </a:buClr>
              <a:buSzPts val="1500"/>
              <a:buChar char="•"/>
              <a:defRPr sz="1500">
                <a:solidFill>
                  <a:schemeClr val="dk1"/>
                </a:solidFill>
              </a:defRPr>
            </a:lvl8pPr>
            <a:lvl9pPr marL="4114800" lvl="8" indent="-323850" algn="l">
              <a:lnSpc>
                <a:spcPct val="100000"/>
              </a:lnSpc>
              <a:spcBef>
                <a:spcPts val="0"/>
              </a:spcBef>
              <a:spcAft>
                <a:spcPts val="0"/>
              </a:spcAft>
              <a:buClr>
                <a:schemeClr val="dk1"/>
              </a:buClr>
              <a:buSzPts val="1500"/>
              <a:buChar char="•"/>
              <a:defRPr sz="1500">
                <a:solidFill>
                  <a:schemeClr val="dk1"/>
                </a:solidFill>
              </a:defRPr>
            </a:lvl9pPr>
          </a:lstStyle>
          <a:p>
            <a:endParaRPr/>
          </a:p>
        </p:txBody>
      </p:sp>
      <p:sp>
        <p:nvSpPr>
          <p:cNvPr id="25" name="Google Shape;25;p2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33902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57"/>
        <p:cNvGrpSpPr/>
        <p:nvPr/>
      </p:nvGrpSpPr>
      <p:grpSpPr>
        <a:xfrm>
          <a:off x="0" y="0"/>
          <a:ext cx="0" cy="0"/>
          <a:chOff x="0" y="0"/>
          <a:chExt cx="0" cy="0"/>
        </a:xfrm>
      </p:grpSpPr>
      <p:sp>
        <p:nvSpPr>
          <p:cNvPr id="58" name="Google Shape;58;p1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283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65357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17"/>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7"/>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63" name="Google Shape;63;p17"/>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64" name="Google Shape;64;p17"/>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66"/>
        <p:cNvGrpSpPr/>
        <p:nvPr/>
      </p:nvGrpSpPr>
      <p:grpSpPr>
        <a:xfrm>
          <a:off x="0" y="0"/>
          <a:ext cx="0" cy="0"/>
          <a:chOff x="0" y="0"/>
          <a:chExt cx="0" cy="0"/>
        </a:xfrm>
      </p:grpSpPr>
      <p:sp>
        <p:nvSpPr>
          <p:cNvPr id="67" name="Google Shape;67;p18"/>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8"/>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70" name="Google Shape;70;p18"/>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rgbClr val="FFFFFF"/>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71" name="Google Shape;71;p18"/>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79"/>
        <p:cNvGrpSpPr/>
        <p:nvPr/>
      </p:nvGrpSpPr>
      <p:grpSpPr>
        <a:xfrm>
          <a:off x="0" y="0"/>
          <a:ext cx="0" cy="0"/>
          <a:chOff x="0" y="0"/>
          <a:chExt cx="0" cy="0"/>
        </a:xfrm>
      </p:grpSpPr>
      <p:sp>
        <p:nvSpPr>
          <p:cNvPr id="80" name="Google Shape;80;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dk1"/>
              </a:buClr>
              <a:buSzPts val="2000"/>
              <a:buNone/>
              <a:defRPr sz="2000">
                <a:solidFill>
                  <a:schemeClr val="dk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1" name="Google Shape;81;p20"/>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0"/>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0"/>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0"/>
          <p:cNvSpPr txBox="1">
            <a:spLocks noGrp="1"/>
          </p:cNvSpPr>
          <p:nvPr>
            <p:ph type="subTitle" idx="1"/>
          </p:nvPr>
        </p:nvSpPr>
        <p:spPr>
          <a:xfrm>
            <a:off x="613700" y="1028375"/>
            <a:ext cx="7625100" cy="3173100"/>
          </a:xfrm>
          <a:prstGeom prst="rect">
            <a:avLst/>
          </a:prstGeom>
        </p:spPr>
        <p:txBody>
          <a:bodyPr spcFirstLastPara="1" wrap="square" lIns="91400" tIns="91400" rIns="91400" bIns="91400" anchor="t" anchorCtr="0">
            <a:noAutofit/>
          </a:bodyPr>
          <a:lstStyle>
            <a:lvl1pPr lvl="0" algn="l" rtl="0">
              <a:spcBef>
                <a:spcPts val="0"/>
              </a:spcBef>
              <a:spcAft>
                <a:spcPts val="0"/>
              </a:spcAft>
              <a:buNone/>
              <a:defRPr sz="1300">
                <a:solidFill>
                  <a:schemeClr val="dk1"/>
                </a:solidFill>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85" name="Google Shape;85;p2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defRPr>
            </a:lvl1pPr>
            <a:lvl2pPr lvl="1" rtl="0">
              <a:buNone/>
              <a:defRPr>
                <a:solidFill>
                  <a:schemeClr val="dk1"/>
                </a:solidFill>
              </a:defRPr>
            </a:lvl2pPr>
            <a:lvl3pPr lvl="2" rtl="0">
              <a:buNone/>
              <a:defRPr>
                <a:solidFill>
                  <a:schemeClr val="dk1"/>
                </a:solidFill>
              </a:defRPr>
            </a:lvl3pPr>
            <a:lvl4pPr lvl="3" rtl="0">
              <a:buNone/>
              <a:defRPr>
                <a:solidFill>
                  <a:schemeClr val="dk1"/>
                </a:solidFill>
              </a:defRPr>
            </a:lvl4pPr>
            <a:lvl5pPr lvl="4" rtl="0">
              <a:buNone/>
              <a:defRPr>
                <a:solidFill>
                  <a:schemeClr val="dk1"/>
                </a:solidFill>
              </a:defRPr>
            </a:lvl5pPr>
            <a:lvl6pPr lvl="5" rtl="0">
              <a:buNone/>
              <a:defRPr>
                <a:solidFill>
                  <a:schemeClr val="dk1"/>
                </a:solidFill>
              </a:defRPr>
            </a:lvl6pPr>
            <a:lvl7pPr lvl="6" rtl="0">
              <a:buNone/>
              <a:defRPr>
                <a:solidFill>
                  <a:schemeClr val="dk1"/>
                </a:solidFill>
              </a:defRPr>
            </a:lvl7pPr>
            <a:lvl8pPr lvl="7" rtl="0">
              <a:buNone/>
              <a:defRPr>
                <a:solidFill>
                  <a:schemeClr val="dk1"/>
                </a:solidFill>
              </a:defRPr>
            </a:lvl8pPr>
            <a:lvl9pPr lvl="8" rtl="0">
              <a:buNone/>
              <a:defRPr>
                <a:solidFill>
                  <a:schemeClr val="dk1"/>
                </a:solidFil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86"/>
        <p:cNvGrpSpPr/>
        <p:nvPr/>
      </p:nvGrpSpPr>
      <p:grpSpPr>
        <a:xfrm>
          <a:off x="0" y="0"/>
          <a:ext cx="0" cy="0"/>
          <a:chOff x="0" y="0"/>
          <a:chExt cx="0" cy="0"/>
        </a:xfrm>
      </p:grpSpPr>
      <p:sp>
        <p:nvSpPr>
          <p:cNvPr id="87" name="Google Shape;87;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88" name="Google Shape;88;p21"/>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89" name="Google Shape;89;p21"/>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0" name="Google Shape;90;p21"/>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91" name="Google Shape;91;p21"/>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1"/>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1"/>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95"/>
        <p:cNvGrpSpPr/>
        <p:nvPr/>
      </p:nvGrpSpPr>
      <p:grpSpPr>
        <a:xfrm>
          <a:off x="0" y="0"/>
          <a:ext cx="0" cy="0"/>
          <a:chOff x="0" y="0"/>
          <a:chExt cx="0" cy="0"/>
        </a:xfrm>
      </p:grpSpPr>
      <p:sp>
        <p:nvSpPr>
          <p:cNvPr id="96" name="Google Shape;96;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97" name="Google Shape;97;p22"/>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2"/>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22"/>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22"/>
          <p:cNvSpPr txBox="1">
            <a:spLocks noGrp="1"/>
          </p:cNvSpPr>
          <p:nvPr>
            <p:ph type="body" idx="1"/>
          </p:nvPr>
        </p:nvSpPr>
        <p:spPr>
          <a:xfrm>
            <a:off x="652700"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1" name="Google Shape;101;p22"/>
          <p:cNvSpPr txBox="1">
            <a:spLocks noGrp="1"/>
          </p:cNvSpPr>
          <p:nvPr>
            <p:ph type="body" idx="2"/>
          </p:nvPr>
        </p:nvSpPr>
        <p:spPr>
          <a:xfrm>
            <a:off x="3411859" y="1152487"/>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2" name="Google Shape;102;p22"/>
          <p:cNvSpPr txBox="1">
            <a:spLocks noGrp="1"/>
          </p:cNvSpPr>
          <p:nvPr>
            <p:ph type="body" idx="3"/>
          </p:nvPr>
        </p:nvSpPr>
        <p:spPr>
          <a:xfrm>
            <a:off x="6204335" y="1139150"/>
            <a:ext cx="26628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03" name="Google Shape;103;p2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104"/>
        <p:cNvGrpSpPr/>
        <p:nvPr/>
      </p:nvGrpSpPr>
      <p:grpSpPr>
        <a:xfrm>
          <a:off x="0" y="0"/>
          <a:ext cx="0" cy="0"/>
          <a:chOff x="0" y="0"/>
          <a:chExt cx="0" cy="0"/>
        </a:xfrm>
      </p:grpSpPr>
      <p:sp>
        <p:nvSpPr>
          <p:cNvPr id="105" name="Google Shape;105;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rtl="0">
              <a:lnSpc>
                <a:spcPct val="90000"/>
              </a:lnSpc>
              <a:spcBef>
                <a:spcPts val="0"/>
              </a:spcBef>
              <a:spcAft>
                <a:spcPts val="0"/>
              </a:spcAft>
              <a:buClr>
                <a:schemeClr val="lt1"/>
              </a:buClr>
              <a:buSzPts val="2000"/>
              <a:buNone/>
              <a:defRPr sz="2000">
                <a:solidFill>
                  <a:schemeClr val="lt1"/>
                </a:solidFill>
              </a:defRPr>
            </a:lvl1pPr>
            <a:lvl2pPr lvl="1" algn="l" rtl="0">
              <a:spcBef>
                <a:spcPts val="0"/>
              </a:spcBef>
              <a:spcAft>
                <a:spcPts val="0"/>
              </a:spcAft>
              <a:buSzPts val="2400"/>
              <a:buNone/>
              <a:defRPr sz="2400"/>
            </a:lvl2pPr>
            <a:lvl3pPr lvl="2" algn="l" rtl="0">
              <a:spcBef>
                <a:spcPts val="0"/>
              </a:spcBef>
              <a:spcAft>
                <a:spcPts val="0"/>
              </a:spcAft>
              <a:buSzPts val="2400"/>
              <a:buNone/>
              <a:defRPr sz="2400"/>
            </a:lvl3pPr>
            <a:lvl4pPr lvl="3" algn="l" rtl="0">
              <a:spcBef>
                <a:spcPts val="0"/>
              </a:spcBef>
              <a:spcAft>
                <a:spcPts val="0"/>
              </a:spcAft>
              <a:buSzPts val="2400"/>
              <a:buNone/>
              <a:defRPr sz="2400"/>
            </a:lvl4pPr>
            <a:lvl5pPr lvl="4" algn="l" rtl="0">
              <a:spcBef>
                <a:spcPts val="0"/>
              </a:spcBef>
              <a:spcAft>
                <a:spcPts val="0"/>
              </a:spcAft>
              <a:buSzPts val="2400"/>
              <a:buNone/>
              <a:defRPr sz="2400"/>
            </a:lvl5pPr>
            <a:lvl6pPr lvl="5" algn="l" rtl="0">
              <a:spcBef>
                <a:spcPts val="0"/>
              </a:spcBef>
              <a:spcAft>
                <a:spcPts val="0"/>
              </a:spcAft>
              <a:buSzPts val="2400"/>
              <a:buNone/>
              <a:defRPr sz="2400"/>
            </a:lvl6pPr>
            <a:lvl7pPr lvl="6" algn="l" rtl="0">
              <a:spcBef>
                <a:spcPts val="0"/>
              </a:spcBef>
              <a:spcAft>
                <a:spcPts val="0"/>
              </a:spcAft>
              <a:buSzPts val="2400"/>
              <a:buNone/>
              <a:defRPr sz="2400"/>
            </a:lvl7pPr>
            <a:lvl8pPr lvl="7" algn="l" rtl="0">
              <a:spcBef>
                <a:spcPts val="0"/>
              </a:spcBef>
              <a:spcAft>
                <a:spcPts val="0"/>
              </a:spcAft>
              <a:buSzPts val="2400"/>
              <a:buNone/>
              <a:defRPr sz="2400"/>
            </a:lvl8pPr>
            <a:lvl9pPr lvl="8" algn="l" rtl="0">
              <a:spcBef>
                <a:spcPts val="0"/>
              </a:spcBef>
              <a:spcAft>
                <a:spcPts val="0"/>
              </a:spcAft>
              <a:buSzPts val="2400"/>
              <a:buNone/>
              <a:defRPr sz="2400"/>
            </a:lvl9pPr>
          </a:lstStyle>
          <a:p>
            <a:endParaRPr/>
          </a:p>
        </p:txBody>
      </p:sp>
      <p:sp>
        <p:nvSpPr>
          <p:cNvPr id="106" name="Google Shape;106;p23"/>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23"/>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23"/>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23"/>
          <p:cNvSpPr txBox="1">
            <a:spLocks noGrp="1"/>
          </p:cNvSpPr>
          <p:nvPr>
            <p:ph type="body" idx="1"/>
          </p:nvPr>
        </p:nvSpPr>
        <p:spPr>
          <a:xfrm>
            <a:off x="613700" y="1152475"/>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0" name="Google Shape;110;p23"/>
          <p:cNvSpPr txBox="1">
            <a:spLocks noGrp="1"/>
          </p:cNvSpPr>
          <p:nvPr>
            <p:ph type="body" idx="2"/>
          </p:nvPr>
        </p:nvSpPr>
        <p:spPr>
          <a:xfrm>
            <a:off x="4935755" y="1139150"/>
            <a:ext cx="3771000" cy="3416400"/>
          </a:xfrm>
          <a:prstGeom prst="rect">
            <a:avLst/>
          </a:prstGeom>
        </p:spPr>
        <p:txBody>
          <a:bodyPr spcFirstLastPara="1" wrap="square" lIns="91400" tIns="91400" rIns="91400" bIns="91400" anchor="t" anchorCtr="0">
            <a:noAutofit/>
          </a:bodyPr>
          <a:lstStyle>
            <a:lvl1pPr marL="457200" lvl="0" indent="-228600" algn="l" rtl="0">
              <a:spcBef>
                <a:spcPts val="0"/>
              </a:spcBef>
              <a:spcAft>
                <a:spcPts val="0"/>
              </a:spcAft>
              <a:buSzPts val="1500"/>
              <a:buNone/>
              <a:defRPr sz="1500"/>
            </a:lvl1pPr>
            <a:lvl2pPr marL="914400" lvl="1" indent="-228600" algn="l" rtl="0">
              <a:spcBef>
                <a:spcPts val="0"/>
              </a:spcBef>
              <a:spcAft>
                <a:spcPts val="0"/>
              </a:spcAft>
              <a:buSzPts val="1500"/>
              <a:buNone/>
              <a:defRPr sz="1500"/>
            </a:lvl2pPr>
            <a:lvl3pPr marL="1371600" lvl="2" indent="-228600" algn="l" rtl="0">
              <a:spcBef>
                <a:spcPts val="0"/>
              </a:spcBef>
              <a:spcAft>
                <a:spcPts val="0"/>
              </a:spcAft>
              <a:buSzPts val="1500"/>
              <a:buNone/>
              <a:defRPr sz="1500"/>
            </a:lvl3pPr>
            <a:lvl4pPr marL="1828800" lvl="3" indent="-228600" algn="l" rtl="0">
              <a:spcBef>
                <a:spcPts val="0"/>
              </a:spcBef>
              <a:spcAft>
                <a:spcPts val="0"/>
              </a:spcAft>
              <a:buSzPts val="1500"/>
              <a:buNone/>
              <a:defRPr sz="1500"/>
            </a:lvl4pPr>
            <a:lvl5pPr marL="2286000" lvl="4" indent="-228600" algn="l" rtl="0">
              <a:spcBef>
                <a:spcPts val="0"/>
              </a:spcBef>
              <a:spcAft>
                <a:spcPts val="0"/>
              </a:spcAft>
              <a:buSzPts val="1500"/>
              <a:buNone/>
              <a:defRPr sz="1500"/>
            </a:lvl5pPr>
            <a:lvl6pPr marL="2743200" lvl="5" indent="-323850" algn="l" rtl="0">
              <a:spcBef>
                <a:spcPts val="0"/>
              </a:spcBef>
              <a:spcAft>
                <a:spcPts val="0"/>
              </a:spcAft>
              <a:buSzPts val="1500"/>
              <a:buChar char="•"/>
              <a:defRPr sz="1500"/>
            </a:lvl6pPr>
            <a:lvl7pPr marL="3200400" lvl="6" indent="-323850" algn="l" rtl="0">
              <a:spcBef>
                <a:spcPts val="0"/>
              </a:spcBef>
              <a:spcAft>
                <a:spcPts val="0"/>
              </a:spcAft>
              <a:buSzPts val="1500"/>
              <a:buChar char="•"/>
              <a:defRPr sz="1500"/>
            </a:lvl7pPr>
            <a:lvl8pPr marL="3657600" lvl="7" indent="-323850" algn="l" rtl="0">
              <a:spcBef>
                <a:spcPts val="0"/>
              </a:spcBef>
              <a:spcAft>
                <a:spcPts val="0"/>
              </a:spcAft>
              <a:buSzPts val="1500"/>
              <a:buChar char="•"/>
              <a:defRPr sz="1500"/>
            </a:lvl8pPr>
            <a:lvl9pPr marL="4114800" lvl="8" indent="-323850" algn="l" rtl="0">
              <a:spcBef>
                <a:spcPts val="0"/>
              </a:spcBef>
              <a:spcAft>
                <a:spcPts val="0"/>
              </a:spcAft>
              <a:buSzPts val="1500"/>
              <a:buChar char="•"/>
              <a:defRPr sz="1500"/>
            </a:lvl9pPr>
          </a:lstStyle>
          <a:p>
            <a:endParaRPr/>
          </a:p>
        </p:txBody>
      </p:sp>
      <p:sp>
        <p:nvSpPr>
          <p:cNvPr id="111" name="Google Shape;111;p23"/>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None/>
              <a:defRPr sz="5100" b="1" i="0" u="none" strike="noStrike" cap="none">
                <a:solidFill>
                  <a:srgbClr val="FFFFFF"/>
                </a:solidFill>
              </a:defRPr>
            </a:lvl1pPr>
            <a:lvl2pPr marR="0" lvl="1" algn="ctr" rtl="0">
              <a:lnSpc>
                <a:spcPct val="100000"/>
              </a:lnSpc>
              <a:spcBef>
                <a:spcPts val="0"/>
              </a:spcBef>
              <a:spcAft>
                <a:spcPts val="0"/>
              </a:spcAft>
              <a:buClr>
                <a:srgbClr val="FFFFFF"/>
              </a:buClr>
              <a:buSzPts val="5100"/>
              <a:buNone/>
              <a:defRPr sz="5100" i="0" u="none" strike="noStrike" cap="none">
                <a:solidFill>
                  <a:srgbClr val="FFFFFF"/>
                </a:solidFill>
              </a:defRPr>
            </a:lvl2pPr>
            <a:lvl3pPr marR="0" lvl="2" algn="ctr" rtl="0">
              <a:lnSpc>
                <a:spcPct val="100000"/>
              </a:lnSpc>
              <a:spcBef>
                <a:spcPts val="0"/>
              </a:spcBef>
              <a:spcAft>
                <a:spcPts val="0"/>
              </a:spcAft>
              <a:buClr>
                <a:srgbClr val="FFFFFF"/>
              </a:buClr>
              <a:buSzPts val="5100"/>
              <a:buNone/>
              <a:defRPr sz="5100" i="0" u="none" strike="noStrike" cap="none">
                <a:solidFill>
                  <a:srgbClr val="FFFFFF"/>
                </a:solidFill>
              </a:defRPr>
            </a:lvl3pPr>
            <a:lvl4pPr marR="0" lvl="3" algn="ctr" rtl="0">
              <a:lnSpc>
                <a:spcPct val="100000"/>
              </a:lnSpc>
              <a:spcBef>
                <a:spcPts val="0"/>
              </a:spcBef>
              <a:spcAft>
                <a:spcPts val="0"/>
              </a:spcAft>
              <a:buClr>
                <a:srgbClr val="FFFFFF"/>
              </a:buClr>
              <a:buSzPts val="5100"/>
              <a:buNone/>
              <a:defRPr sz="5100" i="0" u="none" strike="noStrike" cap="none">
                <a:solidFill>
                  <a:srgbClr val="FFFFFF"/>
                </a:solidFill>
              </a:defRPr>
            </a:lvl4pPr>
            <a:lvl5pPr marR="0" lvl="4" algn="ctr" rtl="0">
              <a:lnSpc>
                <a:spcPct val="100000"/>
              </a:lnSpc>
              <a:spcBef>
                <a:spcPts val="0"/>
              </a:spcBef>
              <a:spcAft>
                <a:spcPts val="0"/>
              </a:spcAft>
              <a:buClr>
                <a:srgbClr val="FFFFFF"/>
              </a:buClr>
              <a:buSzPts val="5100"/>
              <a:buNone/>
              <a:defRPr sz="5100" i="0" u="none" strike="noStrike" cap="none">
                <a:solidFill>
                  <a:srgbClr val="FFFFFF"/>
                </a:solidFill>
              </a:defRPr>
            </a:lvl5pPr>
            <a:lvl6pPr marR="0" lvl="5" algn="ctr" rtl="0">
              <a:lnSpc>
                <a:spcPct val="100000"/>
              </a:lnSpc>
              <a:spcBef>
                <a:spcPts val="0"/>
              </a:spcBef>
              <a:spcAft>
                <a:spcPts val="0"/>
              </a:spcAft>
              <a:buClr>
                <a:srgbClr val="FFFFFF"/>
              </a:buClr>
              <a:buSzPts val="5100"/>
              <a:buNone/>
              <a:defRPr sz="5100" i="0" u="none" strike="noStrike" cap="none">
                <a:solidFill>
                  <a:srgbClr val="FFFFFF"/>
                </a:solidFill>
              </a:defRPr>
            </a:lvl6pPr>
            <a:lvl7pPr marR="0" lvl="6" algn="ctr" rtl="0">
              <a:lnSpc>
                <a:spcPct val="100000"/>
              </a:lnSpc>
              <a:spcBef>
                <a:spcPts val="0"/>
              </a:spcBef>
              <a:spcAft>
                <a:spcPts val="0"/>
              </a:spcAft>
              <a:buClr>
                <a:srgbClr val="FFFFFF"/>
              </a:buClr>
              <a:buSzPts val="5100"/>
              <a:buNone/>
              <a:defRPr sz="5100" i="0" u="none" strike="noStrike" cap="none">
                <a:solidFill>
                  <a:srgbClr val="FFFFFF"/>
                </a:solidFill>
              </a:defRPr>
            </a:lvl7pPr>
            <a:lvl8pPr marR="0" lvl="7" algn="ctr" rtl="0">
              <a:lnSpc>
                <a:spcPct val="100000"/>
              </a:lnSpc>
              <a:spcBef>
                <a:spcPts val="0"/>
              </a:spcBef>
              <a:spcAft>
                <a:spcPts val="0"/>
              </a:spcAft>
              <a:buClr>
                <a:srgbClr val="FFFFFF"/>
              </a:buClr>
              <a:buSzPts val="5100"/>
              <a:buNone/>
              <a:defRPr sz="5100" i="0" u="none" strike="noStrike" cap="none">
                <a:solidFill>
                  <a:srgbClr val="FFFFFF"/>
                </a:solidFill>
              </a:defRPr>
            </a:lvl8pPr>
            <a:lvl9pPr marR="0" lvl="8" algn="ctr" rtl="0">
              <a:lnSpc>
                <a:spcPct val="100000"/>
              </a:lnSpc>
              <a:spcBef>
                <a:spcPts val="0"/>
              </a:spcBef>
              <a:spcAft>
                <a:spcPts val="0"/>
              </a:spcAft>
              <a:buClr>
                <a:srgbClr val="FFFFFF"/>
              </a:buClr>
              <a:buSzPts val="5100"/>
              <a:buNone/>
              <a:defRPr sz="5100" i="0" u="none" strike="noStrike" cap="none">
                <a:solidFill>
                  <a:srgbClr val="FFFFFF"/>
                </a:solidFill>
              </a:defRPr>
            </a:lvl9pPr>
          </a:lstStyle>
          <a:p>
            <a:endParaRPr/>
          </a:p>
        </p:txBody>
      </p:sp>
      <p:sp>
        <p:nvSpPr>
          <p:cNvPr id="52" name="Google Shape;52;p13"/>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None/>
              <a:defRPr sz="2700" i="0" u="none" strike="noStrike" cap="none">
                <a:solidFill>
                  <a:srgbClr val="FFFFFF"/>
                </a:solidFill>
              </a:defRPr>
            </a:lvl1pPr>
            <a:lvl2pPr marL="914400" marR="0" lvl="1" indent="-228600" algn="ctr" rtl="0">
              <a:lnSpc>
                <a:spcPct val="100000"/>
              </a:lnSpc>
              <a:spcBef>
                <a:spcPts val="0"/>
              </a:spcBef>
              <a:spcAft>
                <a:spcPts val="0"/>
              </a:spcAft>
              <a:buClr>
                <a:srgbClr val="FFFFFF"/>
              </a:buClr>
              <a:buSzPts val="2700"/>
              <a:buNone/>
              <a:defRPr sz="2700" i="0" u="none" strike="noStrike" cap="none">
                <a:solidFill>
                  <a:srgbClr val="FFFFFF"/>
                </a:solidFill>
              </a:defRPr>
            </a:lvl2pPr>
            <a:lvl3pPr marL="1371600" marR="0" lvl="2" indent="-228600" algn="ctr" rtl="0">
              <a:lnSpc>
                <a:spcPct val="100000"/>
              </a:lnSpc>
              <a:spcBef>
                <a:spcPts val="0"/>
              </a:spcBef>
              <a:spcAft>
                <a:spcPts val="0"/>
              </a:spcAft>
              <a:buClr>
                <a:srgbClr val="FFFFFF"/>
              </a:buClr>
              <a:buSzPts val="2700"/>
              <a:buNone/>
              <a:defRPr sz="2700" i="0" u="none" strike="noStrike" cap="none">
                <a:solidFill>
                  <a:srgbClr val="FFFFFF"/>
                </a:solidFill>
              </a:defRPr>
            </a:lvl3pPr>
            <a:lvl4pPr marL="1828800" marR="0" lvl="3" indent="-228600" algn="ctr" rtl="0">
              <a:lnSpc>
                <a:spcPct val="100000"/>
              </a:lnSpc>
              <a:spcBef>
                <a:spcPts val="0"/>
              </a:spcBef>
              <a:spcAft>
                <a:spcPts val="0"/>
              </a:spcAft>
              <a:buClr>
                <a:srgbClr val="FFFFFF"/>
              </a:buClr>
              <a:buSzPts val="2700"/>
              <a:buNone/>
              <a:defRPr sz="2700" i="0" u="none" strike="noStrike" cap="none">
                <a:solidFill>
                  <a:srgbClr val="FFFFFF"/>
                </a:solidFill>
              </a:defRPr>
            </a:lvl4pPr>
            <a:lvl5pPr marL="2286000" marR="0" lvl="4" indent="-228600" algn="ctr" rtl="0">
              <a:lnSpc>
                <a:spcPct val="100000"/>
              </a:lnSpc>
              <a:spcBef>
                <a:spcPts val="0"/>
              </a:spcBef>
              <a:spcAft>
                <a:spcPts val="0"/>
              </a:spcAft>
              <a:buClr>
                <a:srgbClr val="FFFFFF"/>
              </a:buClr>
              <a:buSzPts val="2700"/>
              <a:buNone/>
              <a:defRPr sz="2700" i="0" u="none" strike="noStrike" cap="none">
                <a:solidFill>
                  <a:srgbClr val="FFFFFF"/>
                </a:solidFill>
              </a:defRPr>
            </a:lvl5pPr>
            <a:lvl6pPr marL="2743200" marR="0" lvl="5" indent="-349250" algn="ctr" rtl="0">
              <a:lnSpc>
                <a:spcPct val="100000"/>
              </a:lnSpc>
              <a:spcBef>
                <a:spcPts val="0"/>
              </a:spcBef>
              <a:spcAft>
                <a:spcPts val="0"/>
              </a:spcAft>
              <a:buClr>
                <a:srgbClr val="FFFFFF"/>
              </a:buClr>
              <a:buSzPts val="1900"/>
              <a:buChar char="•"/>
              <a:defRPr sz="2700" i="0" u="none" strike="noStrike" cap="none">
                <a:solidFill>
                  <a:srgbClr val="FFFFFF"/>
                </a:solidFill>
              </a:defRPr>
            </a:lvl6pPr>
            <a:lvl7pPr marL="3200400" marR="0" lvl="6"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7pPr>
            <a:lvl8pPr marL="3657600" marR="0" lvl="7"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8pPr>
            <a:lvl9pPr marL="4114800" marR="0" lvl="8" indent="-400050" algn="ctr" rtl="0">
              <a:lnSpc>
                <a:spcPct val="100000"/>
              </a:lnSpc>
              <a:spcBef>
                <a:spcPts val="0"/>
              </a:spcBef>
              <a:spcAft>
                <a:spcPts val="0"/>
              </a:spcAft>
              <a:buClr>
                <a:srgbClr val="FFFFFF"/>
              </a:buClr>
              <a:buSzPts val="2700"/>
              <a:buChar char="•"/>
              <a:defRPr sz="2700" i="0" u="none" strike="noStrike" cap="none">
                <a:solidFill>
                  <a:srgbClr val="FFFFFF"/>
                </a:solidFill>
              </a:defRPr>
            </a:lvl9pPr>
          </a:lstStyle>
          <a:p>
            <a:endParaRPr/>
          </a:p>
        </p:txBody>
      </p:sp>
      <p:sp>
        <p:nvSpPr>
          <p:cNvPr id="53" name="Google Shape;53;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lvl="0" algn="r">
              <a:buNone/>
              <a:defRPr sz="1300">
                <a:solidFill>
                  <a:srgbClr val="FFFFFF"/>
                </a:solidFill>
              </a:defRPr>
            </a:lvl1pPr>
            <a:lvl2pPr lvl="1" algn="r">
              <a:buNone/>
              <a:defRPr sz="1300">
                <a:solidFill>
                  <a:srgbClr val="FFFFFF"/>
                </a:solidFill>
              </a:defRPr>
            </a:lvl2pPr>
            <a:lvl3pPr lvl="2" algn="r">
              <a:buNone/>
              <a:defRPr sz="1300">
                <a:solidFill>
                  <a:srgbClr val="FFFFFF"/>
                </a:solidFill>
              </a:defRPr>
            </a:lvl3pPr>
            <a:lvl4pPr lvl="3" algn="r">
              <a:buNone/>
              <a:defRPr sz="1300">
                <a:solidFill>
                  <a:srgbClr val="FFFFFF"/>
                </a:solidFill>
              </a:defRPr>
            </a:lvl4pPr>
            <a:lvl5pPr lvl="4" algn="r">
              <a:buNone/>
              <a:defRPr sz="1300">
                <a:solidFill>
                  <a:srgbClr val="FFFFFF"/>
                </a:solidFill>
              </a:defRPr>
            </a:lvl5pPr>
            <a:lvl6pPr lvl="5" algn="r">
              <a:buNone/>
              <a:defRPr sz="1300">
                <a:solidFill>
                  <a:srgbClr val="FFFFFF"/>
                </a:solidFill>
              </a:defRPr>
            </a:lvl6pPr>
            <a:lvl7pPr lvl="6" algn="r">
              <a:buNone/>
              <a:defRPr sz="1300">
                <a:solidFill>
                  <a:srgbClr val="FFFFFF"/>
                </a:solidFill>
              </a:defRPr>
            </a:lvl7pPr>
            <a:lvl8pPr lvl="7" algn="r">
              <a:buNone/>
              <a:defRPr sz="1300">
                <a:solidFill>
                  <a:srgbClr val="FFFFFF"/>
                </a:solidFill>
              </a:defRPr>
            </a:lvl8pPr>
            <a:lvl9pPr lvl="8" algn="r">
              <a:buNone/>
              <a:defRPr sz="1300">
                <a:solidFill>
                  <a:srgbClr val="FFFFFF"/>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5" r:id="rId6"/>
    <p:sldLayoutId id="2147483666" r:id="rId7"/>
    <p:sldLayoutId id="2147483667" r:id="rId8"/>
    <p:sldLayoutId id="2147483668" r:id="rId9"/>
    <p:sldLayoutId id="2147483670" r:id="rId10"/>
    <p:sldLayoutId id="2147483671" r:id="rId11"/>
    <p:sldLayoutId id="2147483672" r:id="rId12"/>
    <p:sldLayoutId id="2147483673" r:id="rId13"/>
    <p:sldLayoutId id="2147483674"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7" r:id="rId24"/>
    <p:sldLayoutId id="2147483688" r:id="rId25"/>
    <p:sldLayoutId id="2147483690" r:id="rId26"/>
    <p:sldLayoutId id="2147483691" r:id="rId27"/>
    <p:sldLayoutId id="2147483692" r:id="rId28"/>
    <p:sldLayoutId id="2147483693" r:id="rId29"/>
    <p:sldLayoutId id="2147483694" r:id="rId30"/>
    <p:sldLayoutId id="2147483695" r:id="rId3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5.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hyperlink" Target="https://docs.microsoft.com/en-us/devops/plan/what-is-scrum"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9.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18.sv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18.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18.sv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18.sv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8.svg"/></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0.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bin"/><Relationship Id="rId9" Type="http://schemas.openxmlformats.org/officeDocument/2006/relationships/image" Target="../media/image24.svg"/></Relationships>
</file>

<file path=ppt/slides/_rels/slide3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1.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bin"/><Relationship Id="rId9" Type="http://schemas.openxmlformats.org/officeDocument/2006/relationships/image" Target="../media/image24.svg"/></Relationships>
</file>

<file path=ppt/slides/_rels/slide3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2.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bin"/><Relationship Id="rId9" Type="http://schemas.openxmlformats.org/officeDocument/2006/relationships/image" Target="../media/image24.svg"/></Relationships>
</file>

<file path=ppt/slides/_rels/slide3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3.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bin"/><Relationship Id="rId9" Type="http://schemas.openxmlformats.org/officeDocument/2006/relationships/image" Target="../media/image24.svg"/></Relationships>
</file>

<file path=ppt/slides/_rels/slide3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4.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bin"/><Relationship Id="rId9" Type="http://schemas.openxmlformats.org/officeDocument/2006/relationships/image" Target="../media/image24.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image" Target="../media/image28.svg"/></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28.svg"/></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28.sv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8.svg"/></Relationships>
</file>

<file path=ppt/slides/_rels/slide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3.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0.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1"/>
          <p:cNvSpPr txBox="1">
            <a:spLocks noGrp="1"/>
          </p:cNvSpPr>
          <p:nvPr>
            <p:ph type="title"/>
          </p:nvPr>
        </p:nvSpPr>
        <p:spPr>
          <a:xfrm>
            <a:off x="705000" y="2516825"/>
            <a:ext cx="8520600" cy="885942"/>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endParaRPr dirty="0"/>
          </a:p>
          <a:p>
            <a:pPr marL="0" lvl="0" indent="0" algn="l" rtl="0">
              <a:lnSpc>
                <a:spcPct val="100000"/>
              </a:lnSpc>
              <a:spcBef>
                <a:spcPts val="0"/>
              </a:spcBef>
              <a:spcAft>
                <a:spcPts val="0"/>
              </a:spcAft>
              <a:buSzPts val="3500"/>
              <a:buNone/>
            </a:pPr>
            <a:r>
              <a:rPr lang="en-US" sz="2700" dirty="0"/>
              <a:t>Welcome!</a:t>
            </a:r>
            <a:endParaRPr sz="2700" dirty="0"/>
          </a:p>
          <a:p>
            <a:pPr marL="0" lvl="0" indent="0" algn="l" rtl="0">
              <a:lnSpc>
                <a:spcPct val="100000"/>
              </a:lnSpc>
              <a:spcBef>
                <a:spcPts val="0"/>
              </a:spcBef>
              <a:spcAft>
                <a:spcPts val="0"/>
              </a:spcAft>
              <a:buSzPts val="3500"/>
              <a:buNone/>
            </a:pPr>
            <a:r>
              <a:rPr lang="en-US" sz="4500" dirty="0"/>
              <a:t>Secure Agile</a:t>
            </a:r>
            <a:endParaRPr sz="4500" dirty="0"/>
          </a:p>
        </p:txBody>
      </p:sp>
      <p:pic>
        <p:nvPicPr>
          <p:cNvPr id="2" name="Google Shape;399;p53">
            <a:extLst>
              <a:ext uri="{FF2B5EF4-FFF2-40B4-BE49-F238E27FC236}">
                <a16:creationId xmlns:a16="http://schemas.microsoft.com/office/drawing/2014/main" id="{7745625D-97E3-7AEA-1538-EEDB802A835A}"/>
              </a:ext>
            </a:extLst>
          </p:cNvPr>
          <p:cNvPicPr preferRelativeResize="0"/>
          <p:nvPr/>
        </p:nvPicPr>
        <p:blipFill>
          <a:blip r:embed="rId3">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Gantt Chart</a:t>
            </a:r>
            <a:endParaRPr/>
          </a:p>
        </p:txBody>
      </p:sp>
      <p:sp>
        <p:nvSpPr>
          <p:cNvPr id="377" name="Google Shape;377;p15"/>
          <p:cNvSpPr txBox="1">
            <a:spLocks noGrp="1"/>
          </p:cNvSpPr>
          <p:nvPr>
            <p:ph type="subTitle" idx="1"/>
          </p:nvPr>
        </p:nvSpPr>
        <p:spPr>
          <a:xfrm>
            <a:off x="1730347" y="2213708"/>
            <a:ext cx="5710933" cy="224389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378" name="Google Shape;378;p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pic>
        <p:nvPicPr>
          <p:cNvPr id="379" name="Google Shape;379;p15" descr="excel gantt chart template"/>
          <p:cNvPicPr preferRelativeResize="0"/>
          <p:nvPr/>
        </p:nvPicPr>
        <p:blipFill rotWithShape="1">
          <a:blip r:embed="rId3">
            <a:alphaModFix/>
          </a:blip>
          <a:srcRect/>
          <a:stretch/>
        </p:blipFill>
        <p:spPr>
          <a:xfrm>
            <a:off x="1240472" y="1185333"/>
            <a:ext cx="6663055" cy="3852302"/>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1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gile Software Development</a:t>
            </a:r>
            <a:endParaRPr/>
          </a:p>
        </p:txBody>
      </p:sp>
      <p:sp>
        <p:nvSpPr>
          <p:cNvPr id="385" name="Google Shape;385;p1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A group of software development methodologies based on iterative development.</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Requirements and solutions evolve through collaboration between self-organizing cross-functional teams that include direct engagement with business stakeholder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Key aspec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ncremental delivery</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lways ready to ship</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ontinuous inspection of work product and process provides feedback for continuous improvement</a:t>
            </a:r>
          </a:p>
          <a:p>
            <a:pPr marL="514350" lvl="0" indent="-285750" algn="l" rtl="0">
              <a:lnSpc>
                <a:spcPct val="100000"/>
              </a:lnSpc>
              <a:spcBef>
                <a:spcPts val="0"/>
              </a:spcBef>
              <a:spcAft>
                <a:spcPts val="0"/>
              </a:spcAft>
              <a:buClr>
                <a:schemeClr val="dk1"/>
              </a:buClr>
              <a:buSzPts val="1300"/>
              <a:buFont typeface="Arial"/>
              <a:buChar char="●"/>
            </a:pPr>
            <a:r>
              <a:rPr lang="en-US" dirty="0"/>
              <a:t>Better business and tech alignment</a:t>
            </a:r>
            <a:endParaRPr dirty="0"/>
          </a:p>
        </p:txBody>
      </p:sp>
      <p:sp>
        <p:nvSpPr>
          <p:cNvPr id="386" name="Google Shape;386;p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39"/>
        <p:cNvGrpSpPr/>
        <p:nvPr/>
      </p:nvGrpSpPr>
      <p:grpSpPr>
        <a:xfrm>
          <a:off x="0" y="0"/>
          <a:ext cx="0" cy="0"/>
          <a:chOff x="0" y="0"/>
          <a:chExt cx="0" cy="0"/>
        </a:xfrm>
      </p:grpSpPr>
      <p:sp>
        <p:nvSpPr>
          <p:cNvPr id="540" name="Google Shape;540;p3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Agile Manifesto and its Origins</a:t>
            </a:r>
            <a:endParaRPr/>
          </a:p>
        </p:txBody>
      </p:sp>
      <p:sp>
        <p:nvSpPr>
          <p:cNvPr id="541" name="Google Shape;541;p3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What is it? A statement of values regarding approaches to how teams create and ship softwar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n was it made? 2001, by 17 top software developers and consulta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12 values were agreed upon</a:t>
            </a:r>
            <a:endParaRPr/>
          </a:p>
          <a:p>
            <a:pPr marL="514350" lvl="0" indent="-285750" algn="l" rtl="0">
              <a:lnSpc>
                <a:spcPct val="100000"/>
              </a:lnSpc>
              <a:spcBef>
                <a:spcPts val="0"/>
              </a:spcBef>
              <a:spcAft>
                <a:spcPts val="0"/>
              </a:spcAft>
              <a:buClr>
                <a:schemeClr val="dk1"/>
              </a:buClr>
              <a:buSzPts val="1300"/>
              <a:buFont typeface="Arial"/>
              <a:buChar char="●"/>
            </a:pPr>
            <a:r>
              <a:rPr lang="en-US"/>
              <a:t>These values are NOT a process, implementation or standard; they are opinions</a:t>
            </a:r>
            <a:endParaRPr/>
          </a:p>
          <a:p>
            <a:pPr marL="514350" lvl="0" indent="-285750" algn="l" rtl="0">
              <a:lnSpc>
                <a:spcPct val="100000"/>
              </a:lnSpc>
              <a:spcBef>
                <a:spcPts val="0"/>
              </a:spcBef>
              <a:spcAft>
                <a:spcPts val="0"/>
              </a:spcAft>
              <a:buClr>
                <a:schemeClr val="dk1"/>
              </a:buClr>
              <a:buSzPts val="1300"/>
              <a:buFont typeface="Arial"/>
              <a:buChar char="●"/>
            </a:pPr>
            <a:r>
              <a:rPr lang="en-US"/>
              <a:t>Many popular project management methodologies have arisen that are based on these values</a:t>
            </a:r>
            <a:endParaRPr/>
          </a:p>
          <a:p>
            <a:pPr marL="514350" lvl="0" indent="-285750" algn="l" rtl="0">
              <a:lnSpc>
                <a:spcPct val="100000"/>
              </a:lnSpc>
              <a:spcBef>
                <a:spcPts val="0"/>
              </a:spcBef>
              <a:spcAft>
                <a:spcPts val="0"/>
              </a:spcAft>
              <a:buClr>
                <a:schemeClr val="dk1"/>
              </a:buClr>
              <a:buSzPts val="1300"/>
              <a:buFont typeface="Arial"/>
              <a:buChar char="●"/>
            </a:pPr>
            <a:r>
              <a:rPr lang="en-US"/>
              <a:t>Many Agile implementations are poorly executed; it takes great cooperation between business leadership and a competent, self-guided dev team to make it work</a:t>
            </a:r>
            <a:endParaRPr/>
          </a:p>
        </p:txBody>
      </p:sp>
      <p:sp>
        <p:nvSpPr>
          <p:cNvPr id="542" name="Google Shape;542;p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1">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1">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4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Agile Values</a:t>
            </a:r>
            <a:endParaRPr dirty="0"/>
          </a:p>
        </p:txBody>
      </p:sp>
      <p:sp>
        <p:nvSpPr>
          <p:cNvPr id="549" name="Google Shape;549;p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
        <p:nvSpPr>
          <p:cNvPr id="2" name="Rectangle: Rounded Corners 1">
            <a:extLst>
              <a:ext uri="{FF2B5EF4-FFF2-40B4-BE49-F238E27FC236}">
                <a16:creationId xmlns:a16="http://schemas.microsoft.com/office/drawing/2014/main" id="{A5F03A3C-B580-3AD4-B97E-14FD9827DA6E}"/>
              </a:ext>
            </a:extLst>
          </p:cNvPr>
          <p:cNvSpPr/>
          <p:nvPr/>
        </p:nvSpPr>
        <p:spPr>
          <a:xfrm>
            <a:off x="2662518" y="81102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ividuals &amp; Interactions</a:t>
            </a:r>
          </a:p>
        </p:txBody>
      </p:sp>
      <p:sp>
        <p:nvSpPr>
          <p:cNvPr id="3" name="Half Frame 2">
            <a:extLst>
              <a:ext uri="{FF2B5EF4-FFF2-40B4-BE49-F238E27FC236}">
                <a16:creationId xmlns:a16="http://schemas.microsoft.com/office/drawing/2014/main" id="{B6D257C0-B7BE-4A65-BCB2-19E68A07B0A0}"/>
              </a:ext>
            </a:extLst>
          </p:cNvPr>
          <p:cNvSpPr/>
          <p:nvPr/>
        </p:nvSpPr>
        <p:spPr>
          <a:xfrm rot="7941099">
            <a:off x="4926262" y="98655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tangle: Rounded Corners 3">
            <a:extLst>
              <a:ext uri="{FF2B5EF4-FFF2-40B4-BE49-F238E27FC236}">
                <a16:creationId xmlns:a16="http://schemas.microsoft.com/office/drawing/2014/main" id="{07A7EB63-BD6D-5876-7066-65902955CC7C}"/>
              </a:ext>
            </a:extLst>
          </p:cNvPr>
          <p:cNvSpPr/>
          <p:nvPr/>
        </p:nvSpPr>
        <p:spPr>
          <a:xfrm>
            <a:off x="5755187" y="81101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es &amp; Tools</a:t>
            </a:r>
          </a:p>
        </p:txBody>
      </p:sp>
      <p:sp>
        <p:nvSpPr>
          <p:cNvPr id="5" name="Rectangle: Rounded Corners 4">
            <a:extLst>
              <a:ext uri="{FF2B5EF4-FFF2-40B4-BE49-F238E27FC236}">
                <a16:creationId xmlns:a16="http://schemas.microsoft.com/office/drawing/2014/main" id="{735AF3A4-51D2-4DDD-AC90-7872F2836930}"/>
              </a:ext>
            </a:extLst>
          </p:cNvPr>
          <p:cNvSpPr/>
          <p:nvPr/>
        </p:nvSpPr>
        <p:spPr>
          <a:xfrm>
            <a:off x="2662518" y="177728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ing Software</a:t>
            </a:r>
          </a:p>
        </p:txBody>
      </p:sp>
      <p:sp>
        <p:nvSpPr>
          <p:cNvPr id="6" name="Half Frame 5">
            <a:extLst>
              <a:ext uri="{FF2B5EF4-FFF2-40B4-BE49-F238E27FC236}">
                <a16:creationId xmlns:a16="http://schemas.microsoft.com/office/drawing/2014/main" id="{98807365-ED2B-36C4-7FE0-CF18A76B7104}"/>
              </a:ext>
            </a:extLst>
          </p:cNvPr>
          <p:cNvSpPr/>
          <p:nvPr/>
        </p:nvSpPr>
        <p:spPr>
          <a:xfrm rot="7941099">
            <a:off x="4926262" y="195281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Rounded Corners 6">
            <a:extLst>
              <a:ext uri="{FF2B5EF4-FFF2-40B4-BE49-F238E27FC236}">
                <a16:creationId xmlns:a16="http://schemas.microsoft.com/office/drawing/2014/main" id="{47E0395A-61AF-C065-BCDB-992A12D209AD}"/>
              </a:ext>
            </a:extLst>
          </p:cNvPr>
          <p:cNvSpPr/>
          <p:nvPr/>
        </p:nvSpPr>
        <p:spPr>
          <a:xfrm>
            <a:off x="5755187" y="177728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rehensive Documentation</a:t>
            </a:r>
          </a:p>
        </p:txBody>
      </p:sp>
      <p:sp>
        <p:nvSpPr>
          <p:cNvPr id="8" name="Rectangle: Rounded Corners 7">
            <a:extLst>
              <a:ext uri="{FF2B5EF4-FFF2-40B4-BE49-F238E27FC236}">
                <a16:creationId xmlns:a16="http://schemas.microsoft.com/office/drawing/2014/main" id="{7DEA1EE5-6EC4-E092-FC9F-260ADA8D9A62}"/>
              </a:ext>
            </a:extLst>
          </p:cNvPr>
          <p:cNvSpPr/>
          <p:nvPr/>
        </p:nvSpPr>
        <p:spPr>
          <a:xfrm>
            <a:off x="2662518" y="274355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er Collaboration</a:t>
            </a:r>
          </a:p>
        </p:txBody>
      </p:sp>
      <p:sp>
        <p:nvSpPr>
          <p:cNvPr id="9" name="Half Frame 8">
            <a:extLst>
              <a:ext uri="{FF2B5EF4-FFF2-40B4-BE49-F238E27FC236}">
                <a16:creationId xmlns:a16="http://schemas.microsoft.com/office/drawing/2014/main" id="{C41CA11F-61F3-93E9-5E4A-DEFE6FAD0BDC}"/>
              </a:ext>
            </a:extLst>
          </p:cNvPr>
          <p:cNvSpPr/>
          <p:nvPr/>
        </p:nvSpPr>
        <p:spPr>
          <a:xfrm rot="7941099">
            <a:off x="4926262" y="291908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Rounded Corners 9">
            <a:extLst>
              <a:ext uri="{FF2B5EF4-FFF2-40B4-BE49-F238E27FC236}">
                <a16:creationId xmlns:a16="http://schemas.microsoft.com/office/drawing/2014/main" id="{C113A817-516E-80F6-0081-43A92E336B50}"/>
              </a:ext>
            </a:extLst>
          </p:cNvPr>
          <p:cNvSpPr/>
          <p:nvPr/>
        </p:nvSpPr>
        <p:spPr>
          <a:xfrm>
            <a:off x="5755187" y="274354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ract Negotiation</a:t>
            </a:r>
          </a:p>
        </p:txBody>
      </p:sp>
      <p:sp>
        <p:nvSpPr>
          <p:cNvPr id="11" name="Rectangle: Rounded Corners 10">
            <a:extLst>
              <a:ext uri="{FF2B5EF4-FFF2-40B4-BE49-F238E27FC236}">
                <a16:creationId xmlns:a16="http://schemas.microsoft.com/office/drawing/2014/main" id="{60B1FD87-86B7-5621-FF9F-7525F4C2BEA3}"/>
              </a:ext>
            </a:extLst>
          </p:cNvPr>
          <p:cNvSpPr/>
          <p:nvPr/>
        </p:nvSpPr>
        <p:spPr>
          <a:xfrm>
            <a:off x="2662518" y="370981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ponding to Change</a:t>
            </a:r>
          </a:p>
        </p:txBody>
      </p:sp>
      <p:sp>
        <p:nvSpPr>
          <p:cNvPr id="12" name="Half Frame 11">
            <a:extLst>
              <a:ext uri="{FF2B5EF4-FFF2-40B4-BE49-F238E27FC236}">
                <a16:creationId xmlns:a16="http://schemas.microsoft.com/office/drawing/2014/main" id="{4B0B90D5-852A-F38C-0466-C24744A94930}"/>
              </a:ext>
            </a:extLst>
          </p:cNvPr>
          <p:cNvSpPr/>
          <p:nvPr/>
        </p:nvSpPr>
        <p:spPr>
          <a:xfrm rot="7941099">
            <a:off x="4926262" y="388534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Rounded Corners 12">
            <a:extLst>
              <a:ext uri="{FF2B5EF4-FFF2-40B4-BE49-F238E27FC236}">
                <a16:creationId xmlns:a16="http://schemas.microsoft.com/office/drawing/2014/main" id="{0D24E93C-291D-6ED6-679E-38DA49D7CEED}"/>
              </a:ext>
            </a:extLst>
          </p:cNvPr>
          <p:cNvSpPr/>
          <p:nvPr/>
        </p:nvSpPr>
        <p:spPr>
          <a:xfrm>
            <a:off x="5755187" y="370981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llowing a Plan</a:t>
            </a:r>
          </a:p>
        </p:txBody>
      </p:sp>
      <p:pic>
        <p:nvPicPr>
          <p:cNvPr id="17" name="Graphic 16" descr="Calculator with solid fill">
            <a:extLst>
              <a:ext uri="{FF2B5EF4-FFF2-40B4-BE49-F238E27FC236}">
                <a16:creationId xmlns:a16="http://schemas.microsoft.com/office/drawing/2014/main" id="{0545F9C3-C441-EE8F-ED77-0EE6358256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967" y="155872"/>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p3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ey Elements of the Agile Approach</a:t>
            </a:r>
            <a:endParaRPr/>
          </a:p>
        </p:txBody>
      </p:sp>
      <p:sp>
        <p:nvSpPr>
          <p:cNvPr id="555" name="Google Shape;555;p3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 Agile method is an iterative and incremental tactic to software design that utilizes constant planning, understanding, upgrading, team partnership, development, and delivery.</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is driven by the principles of providing value and collaborating with stakeholder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starts with customers defining the end uses of the final product and the kind of problems the final product attempts to addres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signated teams start to plan and work on a complete process through planning, implementing, and appraisin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Since the development process is iterative, errors are resolved in the intermediate stage of the project.</a:t>
            </a:r>
            <a:endParaRPr/>
          </a:p>
        </p:txBody>
      </p:sp>
      <p:sp>
        <p:nvSpPr>
          <p:cNvPr id="556" name="Google Shape;556;p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5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5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60"/>
        <p:cNvGrpSpPr/>
        <p:nvPr/>
      </p:nvGrpSpPr>
      <p:grpSpPr>
        <a:xfrm>
          <a:off x="0" y="0"/>
          <a:ext cx="0" cy="0"/>
          <a:chOff x="0" y="0"/>
          <a:chExt cx="0" cy="0"/>
        </a:xfrm>
      </p:grpSpPr>
      <p:sp>
        <p:nvSpPr>
          <p:cNvPr id="561" name="Google Shape;561;p3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dern Approaches to Agile Software Development</a:t>
            </a:r>
            <a:endParaRPr/>
          </a:p>
        </p:txBody>
      </p:sp>
      <p:sp>
        <p:nvSpPr>
          <p:cNvPr id="562" name="Google Shape;562;p39"/>
          <p:cNvSpPr txBox="1">
            <a:spLocks noGrp="1"/>
          </p:cNvSpPr>
          <p:nvPr>
            <p:ph type="subTitle" idx="1"/>
          </p:nvPr>
        </p:nvSpPr>
        <p:spPr>
          <a:xfrm>
            <a:off x="613700" y="1028374"/>
            <a:ext cx="7625100" cy="3950879"/>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Several project management approaches implement Agile values in some way. Often, they bring in elements of other approach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Popular methodologies:</a:t>
            </a:r>
            <a:endParaRPr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dirty="0"/>
          </a:p>
        </p:txBody>
      </p:sp>
      <p:sp>
        <p:nvSpPr>
          <p:cNvPr id="563" name="Google Shape;563;p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graphicFrame>
        <p:nvGraphicFramePr>
          <p:cNvPr id="3" name="Diagram 2">
            <a:extLst>
              <a:ext uri="{FF2B5EF4-FFF2-40B4-BE49-F238E27FC236}">
                <a16:creationId xmlns:a16="http://schemas.microsoft.com/office/drawing/2014/main" id="{7FC1A5C8-B261-BDA6-A797-061D6B3C31E5}"/>
              </a:ext>
            </a:extLst>
          </p:cNvPr>
          <p:cNvGraphicFramePr/>
          <p:nvPr/>
        </p:nvGraphicFramePr>
        <p:xfrm>
          <a:off x="2896881" y="1613646"/>
          <a:ext cx="5114306" cy="28155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uiExpand="1" build="p"/>
      <p:bldGraphic spid="3"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82"/>
        <p:cNvGrpSpPr/>
        <p:nvPr/>
      </p:nvGrpSpPr>
      <p:grpSpPr>
        <a:xfrm>
          <a:off x="0" y="0"/>
          <a:ext cx="0" cy="0"/>
          <a:chOff x="0" y="0"/>
          <a:chExt cx="0" cy="0"/>
        </a:xfrm>
      </p:grpSpPr>
      <p:sp>
        <p:nvSpPr>
          <p:cNvPr id="583" name="Google Shape;583;p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iagram of Typical Scrum Sprint</a:t>
            </a:r>
            <a:endParaRPr/>
          </a:p>
        </p:txBody>
      </p:sp>
      <p:sp>
        <p:nvSpPr>
          <p:cNvPr id="584" name="Google Shape;584;p42"/>
          <p:cNvSpPr txBox="1">
            <a:spLocks noGrp="1"/>
          </p:cNvSpPr>
          <p:nvPr>
            <p:ph type="subTitle" idx="1"/>
          </p:nvPr>
        </p:nvSpPr>
        <p:spPr>
          <a:xfrm>
            <a:off x="882646" y="1389179"/>
            <a:ext cx="7162087" cy="2961118"/>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85" name="Google Shape;585;p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pic>
        <p:nvPicPr>
          <p:cNvPr id="586" name="Google Shape;586;p42" descr="Scrum lifecycle diagram"/>
          <p:cNvPicPr preferRelativeResize="0"/>
          <p:nvPr/>
        </p:nvPicPr>
        <p:blipFill rotWithShape="1">
          <a:blip r:embed="rId3">
            <a:alphaModFix/>
          </a:blip>
          <a:srcRect/>
          <a:stretch/>
        </p:blipFill>
        <p:spPr>
          <a:xfrm>
            <a:off x="411821" y="1408554"/>
            <a:ext cx="8320357" cy="2862919"/>
          </a:xfrm>
          <a:prstGeom prst="rect">
            <a:avLst/>
          </a:prstGeom>
          <a:noFill/>
          <a:ln>
            <a:noFill/>
          </a:ln>
        </p:spPr>
      </p:pic>
      <p:sp>
        <p:nvSpPr>
          <p:cNvPr id="587" name="Google Shape;587;p42"/>
          <p:cNvSpPr txBox="1"/>
          <p:nvPr/>
        </p:nvSpPr>
        <p:spPr>
          <a:xfrm>
            <a:off x="1453550" y="4572000"/>
            <a:ext cx="6236898"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Source: </a:t>
            </a:r>
            <a:r>
              <a:rPr lang="en-US" sz="1100" b="0" i="0" u="sng" strike="noStrike" cap="none">
                <a:solidFill>
                  <a:srgbClr val="000000"/>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microsoft.com/en-us/devops/plan/what-is-scrum</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91"/>
        <p:cNvGrpSpPr/>
        <p:nvPr/>
      </p:nvGrpSpPr>
      <p:grpSpPr>
        <a:xfrm>
          <a:off x="0" y="0"/>
          <a:ext cx="0" cy="0"/>
          <a:chOff x="0" y="0"/>
          <a:chExt cx="0" cy="0"/>
        </a:xfrm>
      </p:grpSpPr>
      <p:sp>
        <p:nvSpPr>
          <p:cNvPr id="592" name="Google Shape;592;p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593" name="Google Shape;593;p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sp>
        <p:nvSpPr>
          <p:cNvPr id="594" name="Google Shape;594;p43"/>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595" name="Google Shape;595;p43"/>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596" name="Google Shape;596;p43"/>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4" grpId="0" animBg="1"/>
      <p:bldP spid="595" grpId="0" animBg="1"/>
      <p:bldP spid="59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4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02" name="Google Shape;602;p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8</a:t>
            </a:fld>
            <a:endParaRPr/>
          </a:p>
        </p:txBody>
      </p:sp>
      <p:sp>
        <p:nvSpPr>
          <p:cNvPr id="603" name="Google Shape;603;p44"/>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04" name="Google Shape;604;p44"/>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05" name="Google Shape;605;p44"/>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06" name="Google Shape;606;p44"/>
          <p:cNvSpPr txBox="1">
            <a:spLocks noGrp="1"/>
          </p:cNvSpPr>
          <p:nvPr>
            <p:ph type="subTitle" idx="1"/>
          </p:nvPr>
        </p:nvSpPr>
        <p:spPr>
          <a:xfrm>
            <a:off x="6305742" y="1542683"/>
            <a:ext cx="2522002" cy="831026"/>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Responsible for what team builds and why </a:t>
            </a:r>
            <a:endParaRPr/>
          </a:p>
          <a:p>
            <a:pPr marL="514350" lvl="0" indent="-285750" algn="l" rtl="0">
              <a:lnSpc>
                <a:spcPct val="100000"/>
              </a:lnSpc>
              <a:spcBef>
                <a:spcPts val="0"/>
              </a:spcBef>
              <a:spcAft>
                <a:spcPts val="0"/>
              </a:spcAft>
              <a:buClr>
                <a:schemeClr val="dk1"/>
              </a:buClr>
              <a:buSzPts val="1100"/>
              <a:buFont typeface="Arial"/>
              <a:buChar char="●"/>
            </a:pPr>
            <a:r>
              <a:rPr lang="en-US" sz="1100"/>
              <a:t>Keeps backlog up to date and in correct priority or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4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12" name="Google Shape;612;p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9</a:t>
            </a:fld>
            <a:endParaRPr/>
          </a:p>
        </p:txBody>
      </p:sp>
      <p:sp>
        <p:nvSpPr>
          <p:cNvPr id="613" name="Google Shape;613;p45"/>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14" name="Google Shape;614;p45"/>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15" name="Google Shape;615;p45"/>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16" name="Google Shape;616;p45"/>
          <p:cNvSpPr txBox="1">
            <a:spLocks noGrp="1"/>
          </p:cNvSpPr>
          <p:nvPr>
            <p:ph type="subTitle" idx="1"/>
          </p:nvPr>
        </p:nvSpPr>
        <p:spPr>
          <a:xfrm>
            <a:off x="293131" y="2214467"/>
            <a:ext cx="2522002" cy="1199804"/>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Ensures that Scrum process is followed by team</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the fidelity of the process</a:t>
            </a:r>
            <a:endParaRPr/>
          </a:p>
          <a:p>
            <a:pPr marL="514350" lvl="0" indent="-285750" algn="l" rtl="0">
              <a:lnSpc>
                <a:spcPct val="100000"/>
              </a:lnSpc>
              <a:spcBef>
                <a:spcPts val="0"/>
              </a:spcBef>
              <a:spcAft>
                <a:spcPts val="0"/>
              </a:spcAft>
              <a:buClr>
                <a:schemeClr val="dk1"/>
              </a:buClr>
              <a:buSzPts val="1100"/>
              <a:buFont typeface="Arial"/>
              <a:buChar char="●"/>
            </a:pPr>
            <a:r>
              <a:rPr lang="en-US" sz="1100"/>
              <a:t>Part coach, part team member, part cheerlea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Hello</a:t>
            </a:r>
            <a:endParaRPr/>
          </a:p>
        </p:txBody>
      </p:sp>
      <p:pic>
        <p:nvPicPr>
          <p:cNvPr id="234" name="Google Shape;234;p2"/>
          <p:cNvPicPr preferRelativeResize="0"/>
          <p:nvPr/>
        </p:nvPicPr>
        <p:blipFill rotWithShape="1">
          <a:blip r:embed="rId3">
            <a:alphaModFix/>
          </a:blip>
          <a:srcRect/>
          <a:stretch/>
        </p:blipFill>
        <p:spPr>
          <a:xfrm rot="300002">
            <a:off x="704232" y="-372074"/>
            <a:ext cx="4697753" cy="5026313"/>
          </a:xfrm>
          <a:prstGeom prst="rect">
            <a:avLst/>
          </a:prstGeom>
          <a:noFill/>
          <a:ln>
            <a:noFill/>
          </a:ln>
        </p:spPr>
      </p:pic>
      <p:sp>
        <p:nvSpPr>
          <p:cNvPr id="235" name="Google Shape;235;p2"/>
          <p:cNvSpPr txBox="1">
            <a:spLocks noGrp="1"/>
          </p:cNvSpPr>
          <p:nvPr>
            <p:ph type="body" idx="1"/>
          </p:nvPr>
        </p:nvSpPr>
        <p:spPr>
          <a:xfrm rot="300075">
            <a:off x="1025515" y="2754772"/>
            <a:ext cx="3874852" cy="1545156"/>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SzPts val="1500"/>
              <a:buNone/>
            </a:pPr>
            <a:r>
              <a:rPr lang="en-US" sz="3000" dirty="0">
                <a:solidFill>
                  <a:schemeClr val="accent1"/>
                </a:solidFill>
              </a:rPr>
              <a:t>Allen Sanders</a:t>
            </a:r>
            <a:endParaRPr sz="3000" dirty="0">
              <a:solidFill>
                <a:schemeClr val="accent1"/>
              </a:solidFill>
            </a:endParaRPr>
          </a:p>
          <a:p>
            <a:pPr marL="0" lvl="0" indent="0" algn="ctr" rtl="0">
              <a:lnSpc>
                <a:spcPct val="100000"/>
              </a:lnSpc>
              <a:spcBef>
                <a:spcPts val="0"/>
              </a:spcBef>
              <a:spcAft>
                <a:spcPts val="0"/>
              </a:spcAft>
              <a:buSzPts val="1500"/>
              <a:buNone/>
            </a:pPr>
            <a:r>
              <a:rPr lang="en-US" sz="1900" dirty="0">
                <a:solidFill>
                  <a:schemeClr val="dk1"/>
                </a:solidFill>
              </a:rPr>
              <a:t>Senior Technology Instructor</a:t>
            </a:r>
          </a:p>
          <a:p>
            <a:pPr marL="0" lvl="0" indent="0" algn="ctr" rtl="0">
              <a:lnSpc>
                <a:spcPct val="100000"/>
              </a:lnSpc>
              <a:spcBef>
                <a:spcPts val="0"/>
              </a:spcBef>
              <a:spcAft>
                <a:spcPts val="0"/>
              </a:spcAft>
              <a:buSzPts val="1500"/>
              <a:buNone/>
            </a:pPr>
            <a:r>
              <a:rPr lang="en-US" sz="1900" dirty="0"/>
              <a:t>Pluralsight ILT</a:t>
            </a:r>
            <a:endParaRPr sz="1900" dirty="0">
              <a:solidFill>
                <a:schemeClr val="dk1"/>
              </a:solidFill>
            </a:endParaRPr>
          </a:p>
        </p:txBody>
      </p:sp>
      <p:sp>
        <p:nvSpPr>
          <p:cNvPr id="236" name="Google Shape;236;p2"/>
          <p:cNvSpPr txBox="1">
            <a:spLocks noGrp="1"/>
          </p:cNvSpPr>
          <p:nvPr>
            <p:ph type="body" idx="1"/>
          </p:nvPr>
        </p:nvSpPr>
        <p:spPr>
          <a:xfrm>
            <a:off x="5718621" y="1932900"/>
            <a:ext cx="3037783" cy="28170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chemeClr val="dk1"/>
              </a:buClr>
              <a:buSzPts val="1500"/>
              <a:buChar char="●"/>
            </a:pPr>
            <a:r>
              <a:rPr lang="en-US" dirty="0"/>
              <a:t>30</a:t>
            </a:r>
            <a:r>
              <a:rPr lang="en-US" dirty="0">
                <a:solidFill>
                  <a:schemeClr val="dk1"/>
                </a:solidFill>
              </a:rPr>
              <a:t> years in the industry</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25 years in teaching</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Certified Cloud architect</a:t>
            </a:r>
            <a:endParaRPr dirty="0">
              <a:solidFill>
                <a:schemeClr val="dk1"/>
              </a:solidFill>
            </a:endParaRPr>
          </a:p>
          <a:p>
            <a:pPr marL="457200" lvl="0" indent="-323850" algn="l" rtl="0">
              <a:lnSpc>
                <a:spcPct val="150000"/>
              </a:lnSpc>
              <a:spcBef>
                <a:spcPts val="1000"/>
              </a:spcBef>
              <a:spcAft>
                <a:spcPts val="0"/>
              </a:spcAft>
              <a:buClr>
                <a:schemeClr val="dk1"/>
              </a:buClr>
              <a:buSzPts val="1500"/>
              <a:buChar char="●"/>
            </a:pPr>
            <a:r>
              <a:rPr lang="en-US" dirty="0">
                <a:solidFill>
                  <a:schemeClr val="dk1"/>
                </a:solidFill>
              </a:rPr>
              <a:t>Passionate about learning</a:t>
            </a:r>
            <a:endParaRPr dirty="0">
              <a:solidFill>
                <a:schemeClr val="dk1"/>
              </a:solidFill>
            </a:endParaRPr>
          </a:p>
          <a:p>
            <a:pPr marL="457200" lvl="0" indent="-323850" algn="l" rtl="0">
              <a:lnSpc>
                <a:spcPct val="150000"/>
              </a:lnSpc>
              <a:spcBef>
                <a:spcPts val="1000"/>
              </a:spcBef>
              <a:spcAft>
                <a:spcPts val="1000"/>
              </a:spcAft>
              <a:buClr>
                <a:schemeClr val="dk1"/>
              </a:buClr>
              <a:buSzPts val="1500"/>
              <a:buChar char="●"/>
            </a:pPr>
            <a:r>
              <a:rPr lang="en-US" dirty="0">
                <a:solidFill>
                  <a:schemeClr val="dk1"/>
                </a:solidFill>
              </a:rPr>
              <a:t>Also, passionate about Reese’s Cups!</a:t>
            </a:r>
            <a:endParaRPr dirty="0">
              <a:solidFill>
                <a:schemeClr val="dk1"/>
              </a:solidFill>
            </a:endParaRPr>
          </a:p>
        </p:txBody>
      </p:sp>
      <p:sp>
        <p:nvSpPr>
          <p:cNvPr id="237" name="Google Shape;237;p2"/>
          <p:cNvSpPr txBox="1"/>
          <p:nvPr/>
        </p:nvSpPr>
        <p:spPr>
          <a:xfrm>
            <a:off x="6365112" y="1249787"/>
            <a:ext cx="1744800" cy="461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000000"/>
                </a:solidFill>
                <a:latin typeface="Arial"/>
                <a:ea typeface="Arial"/>
                <a:cs typeface="Arial"/>
                <a:sym typeface="Arial"/>
              </a:rPr>
              <a:t>About me...</a:t>
            </a:r>
            <a:endParaRPr sz="1800" b="1" i="0" u="none" strike="noStrike" cap="none">
              <a:solidFill>
                <a:srgbClr val="000000"/>
              </a:solidFill>
              <a:latin typeface="Arial"/>
              <a:ea typeface="Arial"/>
              <a:cs typeface="Arial"/>
              <a:sym typeface="Arial"/>
            </a:endParaRPr>
          </a:p>
        </p:txBody>
      </p:sp>
      <p:sp>
        <p:nvSpPr>
          <p:cNvPr id="238" name="Google Shape;238;p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pic>
        <p:nvPicPr>
          <p:cNvPr id="239" name="Google Shape;239;p2"/>
          <p:cNvPicPr preferRelativeResize="0"/>
          <p:nvPr/>
        </p:nvPicPr>
        <p:blipFill rotWithShape="1">
          <a:blip r:embed="rId4">
            <a:alphaModFix/>
          </a:blip>
          <a:srcRect/>
          <a:stretch/>
        </p:blipFill>
        <p:spPr>
          <a:xfrm>
            <a:off x="7839140" y="1180013"/>
            <a:ext cx="754616" cy="788695"/>
          </a:xfrm>
          <a:prstGeom prst="rect">
            <a:avLst/>
          </a:prstGeom>
          <a:noFill/>
          <a:ln>
            <a:noFill/>
          </a:ln>
        </p:spPr>
      </p:pic>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p4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22" name="Google Shape;622;p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sp>
        <p:nvSpPr>
          <p:cNvPr id="623" name="Google Shape;623;p46"/>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24" name="Google Shape;624;p46"/>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25" name="Google Shape;625;p46"/>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26" name="Google Shape;626;p46"/>
          <p:cNvSpPr txBox="1">
            <a:spLocks noGrp="1"/>
          </p:cNvSpPr>
          <p:nvPr>
            <p:ph type="subTitle" idx="1"/>
          </p:nvPr>
        </p:nvSpPr>
        <p:spPr>
          <a:xfrm>
            <a:off x="6309132" y="3330877"/>
            <a:ext cx="2522002" cy="679329"/>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People building the product</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product build (and associated quality)</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A127B-FBA6-133B-C021-EC019B3266C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575C52D-E377-ACE9-8AED-EA21931EE056}"/>
              </a:ext>
            </a:extLst>
          </p:cNvPr>
          <p:cNvSpPr>
            <a:spLocks noGrp="1"/>
          </p:cNvSpPr>
          <p:nvPr>
            <p:ph type="title"/>
          </p:nvPr>
        </p:nvSpPr>
        <p:spPr/>
        <p:txBody>
          <a:bodyPr/>
          <a:lstStyle/>
          <a:p>
            <a:r>
              <a:rPr lang="en-US" dirty="0"/>
              <a:t>Planning with Security in Mind</a:t>
            </a:r>
          </a:p>
        </p:txBody>
      </p:sp>
    </p:spTree>
    <p:extLst>
      <p:ext uri="{BB962C8B-B14F-4D97-AF65-F5344CB8AC3E}">
        <p14:creationId xmlns:p14="http://schemas.microsoft.com/office/powerpoint/2010/main" val="7780600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5" name="Google Shape;365;p53"/>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3200"/>
            </a:pPr>
            <a:r>
              <a:rPr lang="en-IN" dirty="0">
                <a:latin typeface="Arial" panose="020B0604020202020204" pitchFamily="34" charset="0"/>
                <a:ea typeface="Helvetica Neue"/>
                <a:cs typeface="Arial" panose="020B0604020202020204" pitchFamily="34" charset="0"/>
                <a:sym typeface="Helvetica Neue"/>
              </a:rPr>
              <a:t>The Flat Backlog</a:t>
            </a:r>
            <a:endParaRPr dirty="0">
              <a:latin typeface="Arial" panose="020B0604020202020204" pitchFamily="34" charset="0"/>
              <a:ea typeface="Helvetica Neue"/>
              <a:cs typeface="Arial" panose="020B0604020202020204" pitchFamily="34" charset="0"/>
              <a:sym typeface="Helvetica Neue"/>
            </a:endParaRPr>
          </a:p>
        </p:txBody>
      </p:sp>
      <p:sp>
        <p:nvSpPr>
          <p:cNvPr id="366" name="Google Shape;366;p53"/>
          <p:cNvSpPr txBox="1">
            <a:spLocks noGrp="1"/>
          </p:cNvSpPr>
          <p:nvPr>
            <p:ph type="sldNum" idx="12"/>
          </p:nvPr>
        </p:nvSpPr>
        <p:spPr>
          <a:xfrm>
            <a:off x="8556784" y="4749851"/>
            <a:ext cx="548775" cy="393525"/>
          </a:xfrm>
          <a:prstGeom prst="rect">
            <a:avLst/>
          </a:prstGeom>
          <a:noFill/>
          <a:ln>
            <a:noFill/>
          </a:ln>
        </p:spPr>
        <p:txBody>
          <a:bodyPr spcFirstLastPara="1" wrap="square" lIns="68569" tIns="34275" rIns="68569" bIns="34275" anchor="ctr" anchorCtr="0">
            <a:noAutofit/>
          </a:bodyPr>
          <a:lstStyle/>
          <a:p>
            <a:pPr>
              <a:buSzPts val="1700"/>
            </a:pPr>
            <a:fld id="{00000000-1234-1234-1234-123412341234}" type="slidenum">
              <a:rPr lang="en-IN" sz="1275">
                <a:solidFill>
                  <a:srgbClr val="FFFFFF"/>
                </a:solidFill>
              </a:rPr>
              <a:pPr>
                <a:buSzPts val="1700"/>
              </a:pPr>
              <a:t>22</a:t>
            </a:fld>
            <a:endParaRPr sz="1275" dirty="0">
              <a:solidFill>
                <a:srgbClr val="FFFFFF"/>
              </a:solidFill>
            </a:endParaRPr>
          </a:p>
        </p:txBody>
      </p:sp>
      <p:sp>
        <p:nvSpPr>
          <p:cNvPr id="367" name="Google Shape;367;p53"/>
          <p:cNvSpPr/>
          <p:nvPr/>
        </p:nvSpPr>
        <p:spPr>
          <a:xfrm>
            <a:off x="8125369" y="1096676"/>
            <a:ext cx="57150" cy="3785235"/>
          </a:xfrm>
          <a:custGeom>
            <a:avLst/>
            <a:gdLst/>
            <a:ahLst/>
            <a:cxnLst/>
            <a:rect l="l" t="t" r="r" b="b"/>
            <a:pathLst>
              <a:path w="76200" h="5046980" extrusionOk="0">
                <a:moveTo>
                  <a:pt x="47625" y="63480"/>
                </a:moveTo>
                <a:lnTo>
                  <a:pt x="28575" y="63480"/>
                </a:lnTo>
                <a:lnTo>
                  <a:pt x="28576" y="5046953"/>
                </a:lnTo>
                <a:lnTo>
                  <a:pt x="47626" y="5046953"/>
                </a:lnTo>
                <a:lnTo>
                  <a:pt x="47625" y="63480"/>
                </a:lnTo>
                <a:close/>
              </a:path>
              <a:path w="76200" h="5046980" extrusionOk="0">
                <a:moveTo>
                  <a:pt x="38100" y="0"/>
                </a:moveTo>
                <a:lnTo>
                  <a:pt x="0" y="76200"/>
                </a:lnTo>
                <a:lnTo>
                  <a:pt x="28575" y="76200"/>
                </a:lnTo>
                <a:lnTo>
                  <a:pt x="28575" y="63480"/>
                </a:lnTo>
                <a:lnTo>
                  <a:pt x="69840" y="63480"/>
                </a:lnTo>
                <a:lnTo>
                  <a:pt x="38100" y="0"/>
                </a:lnTo>
                <a:close/>
              </a:path>
              <a:path w="76200" h="5046980" extrusionOk="0">
                <a:moveTo>
                  <a:pt x="69840" y="63480"/>
                </a:moveTo>
                <a:lnTo>
                  <a:pt x="47625" y="63480"/>
                </a:lnTo>
                <a:lnTo>
                  <a:pt x="47625" y="76200"/>
                </a:lnTo>
                <a:lnTo>
                  <a:pt x="76200" y="76200"/>
                </a:lnTo>
                <a:lnTo>
                  <a:pt x="69840" y="63480"/>
                </a:lnTo>
                <a:close/>
              </a:path>
            </a:pathLst>
          </a:custGeom>
          <a:solidFill>
            <a:srgbClr val="1B2429"/>
          </a:solidFill>
          <a:ln>
            <a:noFill/>
          </a:ln>
        </p:spPr>
        <p:txBody>
          <a:bodyPr spcFirstLastPara="1" wrap="square" lIns="0" tIns="0" rIns="0" bIns="0" anchor="t" anchorCtr="0">
            <a:noAutofit/>
          </a:bodyPr>
          <a:lstStyle/>
          <a:p>
            <a:endParaRPr sz="1050" dirty="0">
              <a:latin typeface="Helvetica Neue Light"/>
              <a:ea typeface="Helvetica Neue Light"/>
              <a:cs typeface="Helvetica Neue Light"/>
              <a:sym typeface="Helvetica Neue Light"/>
            </a:endParaRPr>
          </a:p>
        </p:txBody>
      </p:sp>
      <p:sp>
        <p:nvSpPr>
          <p:cNvPr id="368" name="Google Shape;368;p53"/>
          <p:cNvSpPr txBox="1"/>
          <p:nvPr/>
        </p:nvSpPr>
        <p:spPr>
          <a:xfrm>
            <a:off x="8251050" y="1095957"/>
            <a:ext cx="548775" cy="194758"/>
          </a:xfrm>
          <a:prstGeom prst="rect">
            <a:avLst/>
          </a:prstGeom>
          <a:noFill/>
          <a:ln>
            <a:noFill/>
          </a:ln>
        </p:spPr>
        <p:txBody>
          <a:bodyPr spcFirstLastPara="1" wrap="square" lIns="0" tIns="9994" rIns="0" bIns="0" anchor="t" anchorCtr="0">
            <a:spAutoFit/>
          </a:bodyPr>
          <a:lstStyle/>
          <a:p>
            <a:pPr marL="9525"/>
            <a:r>
              <a:rPr lang="en-IN" sz="1200" i="1" dirty="0">
                <a:solidFill>
                  <a:srgbClr val="1B2429"/>
                </a:solidFill>
                <a:latin typeface="Helvetica Neue Light"/>
                <a:ea typeface="Helvetica Neue Light"/>
                <a:cs typeface="Helvetica Neue Light"/>
                <a:sym typeface="Helvetica Neue Light"/>
              </a:rPr>
              <a:t>priority</a:t>
            </a:r>
            <a:endParaRPr sz="1200" dirty="0">
              <a:latin typeface="Helvetica Neue Light"/>
              <a:ea typeface="Helvetica Neue Light"/>
              <a:cs typeface="Helvetica Neue Light"/>
              <a:sym typeface="Helvetica Neue Light"/>
            </a:endParaRPr>
          </a:p>
        </p:txBody>
      </p:sp>
      <p:sp>
        <p:nvSpPr>
          <p:cNvPr id="369" name="Google Shape;369;p53"/>
          <p:cNvSpPr txBox="1"/>
          <p:nvPr/>
        </p:nvSpPr>
        <p:spPr>
          <a:xfrm>
            <a:off x="613706" y="1097401"/>
            <a:ext cx="4674825" cy="1324265"/>
          </a:xfrm>
          <a:prstGeom prst="rect">
            <a:avLst/>
          </a:prstGeom>
          <a:noFill/>
          <a:ln>
            <a:noFill/>
          </a:ln>
        </p:spPr>
        <p:txBody>
          <a:bodyPr spcFirstLastPara="1" wrap="square" lIns="0" tIns="50475" rIns="0" bIns="0" anchor="t" anchorCtr="0">
            <a:spAutoFit/>
          </a:bodyPr>
          <a:lstStyle/>
          <a:p>
            <a:endParaRPr sz="1350" dirty="0">
              <a:solidFill>
                <a:srgbClr val="2BA6ED"/>
              </a:solidFill>
              <a:latin typeface="Arial" panose="020B0604020202020204" pitchFamily="34" charset="0"/>
              <a:ea typeface="Proxima Nova"/>
              <a:cs typeface="Arial" panose="020B0604020202020204" pitchFamily="34" charset="0"/>
              <a:sym typeface="Proxima Nova"/>
            </a:endParaRPr>
          </a:p>
          <a:p>
            <a:r>
              <a:rPr lang="en-IN" sz="1350" dirty="0">
                <a:solidFill>
                  <a:srgbClr val="2BA6ED"/>
                </a:solidFill>
                <a:latin typeface="Arial" panose="020B0604020202020204" pitchFamily="34" charset="0"/>
                <a:ea typeface="Proxima Nova"/>
                <a:cs typeface="Arial" panose="020B0604020202020204" pitchFamily="34" charset="0"/>
                <a:sym typeface="Proxima Nova"/>
              </a:rPr>
              <a:t>Observation 1: Do You Know What You‘re Building?</a:t>
            </a:r>
            <a:endParaRPr sz="1350" dirty="0">
              <a:latin typeface="Arial" panose="020B0604020202020204" pitchFamily="34" charset="0"/>
              <a:ea typeface="Proxima Nova"/>
              <a:cs typeface="Arial" panose="020B0604020202020204" pitchFamily="34" charset="0"/>
              <a:sym typeface="Proxima Nova"/>
            </a:endParaRPr>
          </a:p>
          <a:p>
            <a:pPr marL="78581" marR="72390">
              <a:lnSpc>
                <a:spcPct val="115000"/>
              </a:lnSpc>
              <a:spcBef>
                <a:spcPts val="750"/>
              </a:spcBef>
            </a:pPr>
            <a:r>
              <a:rPr lang="en-IN" sz="1350" dirty="0">
                <a:latin typeface="Arial" panose="020B0604020202020204" pitchFamily="34" charset="0"/>
                <a:ea typeface="Proxima Nova"/>
                <a:cs typeface="Arial" panose="020B0604020202020204" pitchFamily="34" charset="0"/>
                <a:sym typeface="Proxima Nova"/>
              </a:rPr>
              <a:t>Arranging user stories in the order you build them  doesn‘t help when you want to answer the question</a:t>
            </a:r>
            <a:endParaRPr sz="1350" dirty="0">
              <a:latin typeface="Arial" panose="020B0604020202020204" pitchFamily="34" charset="0"/>
              <a:ea typeface="Proxima Nova"/>
              <a:cs typeface="Arial" panose="020B0604020202020204" pitchFamily="34" charset="0"/>
              <a:sym typeface="Proxima Nova"/>
            </a:endParaRPr>
          </a:p>
          <a:p>
            <a:pPr>
              <a:lnSpc>
                <a:spcPct val="115000"/>
              </a:lnSpc>
              <a:spcBef>
                <a:spcPts val="326"/>
              </a:spcBef>
            </a:pPr>
            <a:r>
              <a:rPr lang="en-IN" sz="1350" dirty="0">
                <a:latin typeface="Arial" panose="020B0604020202020204" pitchFamily="34" charset="0"/>
                <a:ea typeface="Proxima Nova"/>
                <a:cs typeface="Arial" panose="020B0604020202020204" pitchFamily="34" charset="0"/>
                <a:sym typeface="Proxima Nova"/>
              </a:rPr>
              <a:t>"What does the system you‘re building do?" to others.</a:t>
            </a:r>
            <a:endParaRPr sz="1350" dirty="0">
              <a:latin typeface="Arial" panose="020B0604020202020204" pitchFamily="34" charset="0"/>
              <a:ea typeface="Proxima Nova"/>
              <a:cs typeface="Arial" panose="020B0604020202020204" pitchFamily="34" charset="0"/>
              <a:sym typeface="Proxima Nova"/>
            </a:endParaRPr>
          </a:p>
        </p:txBody>
      </p:sp>
      <p:graphicFrame>
        <p:nvGraphicFramePr>
          <p:cNvPr id="370" name="Google Shape;370;p53"/>
          <p:cNvGraphicFramePr/>
          <p:nvPr>
            <p:extLst>
              <p:ext uri="{D42A27DB-BD31-4B8C-83A1-F6EECF244321}">
                <p14:modId xmlns:p14="http://schemas.microsoft.com/office/powerpoint/2010/main" val="1906530752"/>
              </p:ext>
            </p:extLst>
          </p:nvPr>
        </p:nvGraphicFramePr>
        <p:xfrm>
          <a:off x="5356974" y="1097392"/>
          <a:ext cx="2699869" cy="3783788"/>
        </p:xfrm>
        <a:graphic>
          <a:graphicData uri="http://schemas.openxmlformats.org/drawingml/2006/table">
            <a:tbl>
              <a:tblPr firstRow="1" bandRow="1">
                <a:noFill/>
              </a:tblPr>
              <a:tblGrid>
                <a:gridCol w="2699869">
                  <a:extLst>
                    <a:ext uri="{9D8B030D-6E8A-4147-A177-3AD203B41FA5}">
                      <a16:colId xmlns:a16="http://schemas.microsoft.com/office/drawing/2014/main" val="20000"/>
                    </a:ext>
                  </a:extLst>
                </a:gridCol>
              </a:tblGrid>
              <a:tr h="1132519">
                <a:tc>
                  <a:txBody>
                    <a:bodyPr/>
                    <a:lstStyle/>
                    <a:p>
                      <a:pPr marL="243840" marR="0" lvl="0" indent="0" algn="l" rtl="0">
                        <a:lnSpc>
                          <a:spcPct val="100000"/>
                        </a:lnSpc>
                        <a:spcBef>
                          <a:spcPts val="0"/>
                        </a:spcBef>
                        <a:spcAft>
                          <a:spcPts val="0"/>
                        </a:spcAft>
                        <a:buNone/>
                      </a:pPr>
                      <a:r>
                        <a:rPr lang="en-IN" sz="900" u="none" strike="noStrike" cap="none" dirty="0">
                          <a:solidFill>
                            <a:schemeClr val="dk1"/>
                          </a:solidFill>
                        </a:rPr>
                        <a:t>SPRINT 1</a:t>
                      </a:r>
                      <a:endParaRPr sz="1100" dirty="0"/>
                    </a:p>
                    <a:p>
                      <a:pPr marL="0" marR="0" lvl="0" indent="0" algn="l" rtl="0">
                        <a:lnSpc>
                          <a:spcPct val="100000"/>
                        </a:lnSpc>
                        <a:spcBef>
                          <a:spcPts val="55"/>
                        </a:spcBef>
                        <a:spcAft>
                          <a:spcPts val="0"/>
                        </a:spcAft>
                        <a:buNone/>
                      </a:pPr>
                      <a:endParaRPr sz="1200" u="none" strike="noStrike" cap="none" dirty="0"/>
                    </a:p>
                    <a:p>
                      <a:pPr marL="0" marR="0" lvl="0" indent="0" algn="ctr" rtl="0">
                        <a:lnSpc>
                          <a:spcPct val="100000"/>
                        </a:lnSpc>
                        <a:spcBef>
                          <a:spcPts val="0"/>
                        </a:spcBef>
                        <a:spcAft>
                          <a:spcPts val="0"/>
                        </a:spcAft>
                        <a:buNone/>
                      </a:pPr>
                      <a:r>
                        <a:rPr lang="en-IN" sz="1700" u="none" strike="noStrike" cap="none" dirty="0">
                          <a:solidFill>
                            <a:srgbClr val="454646"/>
                          </a:solidFill>
                        </a:rPr>
                        <a:t>Do stuff...</a:t>
                      </a:r>
                      <a:endParaRPr sz="1700" u="none" strike="noStrike" cap="none" dirty="0">
                        <a:latin typeface="Tahoma"/>
                        <a:ea typeface="Tahoma"/>
                        <a:cs typeface="Tahoma"/>
                        <a:sym typeface="Tahoma"/>
                      </a:endParaRPr>
                    </a:p>
                  </a:txBody>
                  <a:tcPr marL="0" marR="0" marT="113831" marB="0">
                    <a:solidFill>
                      <a:schemeClr val="accent6">
                        <a:lumMod val="20000"/>
                        <a:lumOff val="80000"/>
                      </a:schemeClr>
                    </a:solidFill>
                  </a:tcPr>
                </a:tc>
                <a:extLst>
                  <a:ext uri="{0D108BD9-81ED-4DB2-BD59-A6C34878D82A}">
                    <a16:rowId xmlns:a16="http://schemas.microsoft.com/office/drawing/2014/main" val="10000"/>
                  </a:ext>
                </a:extLst>
              </a:tr>
              <a:tr h="1132519">
                <a:tc>
                  <a:txBody>
                    <a:bodyPr/>
                    <a:lstStyle/>
                    <a:p>
                      <a:pPr marL="243840" marR="0" lvl="0" indent="0" algn="l" rtl="0">
                        <a:lnSpc>
                          <a:spcPct val="100000"/>
                        </a:lnSpc>
                        <a:spcBef>
                          <a:spcPts val="0"/>
                        </a:spcBef>
                        <a:spcAft>
                          <a:spcPts val="0"/>
                        </a:spcAft>
                        <a:buNone/>
                      </a:pPr>
                      <a:r>
                        <a:rPr lang="en-IN" sz="900" u="none" strike="noStrike" cap="none" dirty="0">
                          <a:solidFill>
                            <a:schemeClr val="dk1"/>
                          </a:solidFill>
                        </a:rPr>
                        <a:t>SPRINT 1</a:t>
                      </a:r>
                      <a:endParaRPr sz="1100" dirty="0"/>
                    </a:p>
                    <a:p>
                      <a:pPr marL="0" marR="0" lvl="0" indent="0" algn="l" rtl="0">
                        <a:lnSpc>
                          <a:spcPct val="100000"/>
                        </a:lnSpc>
                        <a:spcBef>
                          <a:spcPts val="25"/>
                        </a:spcBef>
                        <a:spcAft>
                          <a:spcPts val="0"/>
                        </a:spcAft>
                        <a:buNone/>
                      </a:pPr>
                      <a:endParaRPr sz="1200" u="none" strike="noStrike" cap="none" dirty="0"/>
                    </a:p>
                    <a:p>
                      <a:pPr marL="849630" marR="0" lvl="0" indent="0" algn="l" rtl="0">
                        <a:lnSpc>
                          <a:spcPct val="100000"/>
                        </a:lnSpc>
                        <a:spcBef>
                          <a:spcPts val="5"/>
                        </a:spcBef>
                        <a:spcAft>
                          <a:spcPts val="0"/>
                        </a:spcAft>
                        <a:buNone/>
                      </a:pPr>
                      <a:r>
                        <a:rPr lang="en-IN" sz="1700" u="none" strike="noStrike" cap="none" dirty="0">
                          <a:solidFill>
                            <a:srgbClr val="454646"/>
                          </a:solidFill>
                        </a:rPr>
                        <a:t>Do more stuff...</a:t>
                      </a:r>
                      <a:endParaRPr sz="1700" u="none" strike="noStrike" cap="none" dirty="0">
                        <a:latin typeface="Tahoma"/>
                        <a:ea typeface="Tahoma"/>
                        <a:cs typeface="Tahoma"/>
                        <a:sym typeface="Tahoma"/>
                      </a:endParaRPr>
                    </a:p>
                  </a:txBody>
                  <a:tcPr marL="0" marR="0" marT="117150" marB="0">
                    <a:solidFill>
                      <a:schemeClr val="accent6">
                        <a:lumMod val="20000"/>
                        <a:lumOff val="80000"/>
                      </a:schemeClr>
                    </a:solidFill>
                  </a:tcPr>
                </a:tc>
                <a:extLst>
                  <a:ext uri="{0D108BD9-81ED-4DB2-BD59-A6C34878D82A}">
                    <a16:rowId xmlns:a16="http://schemas.microsoft.com/office/drawing/2014/main" val="10001"/>
                  </a:ext>
                </a:extLst>
              </a:tr>
              <a:tr h="1132519">
                <a:tc>
                  <a:txBody>
                    <a:bodyPr/>
                    <a:lstStyle/>
                    <a:p>
                      <a:pPr marL="243840" marR="0" lvl="0" indent="0" algn="l" rtl="0">
                        <a:lnSpc>
                          <a:spcPct val="100000"/>
                        </a:lnSpc>
                        <a:spcBef>
                          <a:spcPts val="0"/>
                        </a:spcBef>
                        <a:spcAft>
                          <a:spcPts val="0"/>
                        </a:spcAft>
                        <a:buNone/>
                      </a:pPr>
                      <a:r>
                        <a:rPr lang="en-IN" sz="900" u="none" strike="noStrike" cap="none" dirty="0">
                          <a:solidFill>
                            <a:schemeClr val="dk1"/>
                          </a:solidFill>
                        </a:rPr>
                        <a:t>SPRINT 2</a:t>
                      </a:r>
                      <a:endParaRPr sz="1100" dirty="0"/>
                    </a:p>
                    <a:p>
                      <a:pPr marL="0" marR="0" lvl="0" indent="0" algn="l" rtl="0">
                        <a:lnSpc>
                          <a:spcPct val="100000"/>
                        </a:lnSpc>
                        <a:spcBef>
                          <a:spcPts val="30"/>
                        </a:spcBef>
                        <a:spcAft>
                          <a:spcPts val="0"/>
                        </a:spcAft>
                        <a:buNone/>
                      </a:pPr>
                      <a:endParaRPr sz="1200" u="none" strike="noStrike" cap="none" dirty="0"/>
                    </a:p>
                    <a:p>
                      <a:pPr marL="0" marR="0" lvl="0" indent="0" algn="ctr" rtl="0">
                        <a:lnSpc>
                          <a:spcPct val="100000"/>
                        </a:lnSpc>
                        <a:spcBef>
                          <a:spcPts val="0"/>
                        </a:spcBef>
                        <a:spcAft>
                          <a:spcPts val="0"/>
                        </a:spcAft>
                        <a:buNone/>
                      </a:pPr>
                      <a:r>
                        <a:rPr lang="en-IN" sz="1700" u="none" strike="noStrike" cap="none" dirty="0">
                          <a:solidFill>
                            <a:srgbClr val="454646"/>
                          </a:solidFill>
                        </a:rPr>
                        <a:t>Do even more stuff...</a:t>
                      </a:r>
                      <a:endParaRPr sz="1700" u="none" strike="noStrike" cap="none" dirty="0">
                        <a:latin typeface="Tahoma"/>
                        <a:ea typeface="Tahoma"/>
                        <a:cs typeface="Tahoma"/>
                        <a:sym typeface="Tahoma"/>
                      </a:endParaRPr>
                    </a:p>
                  </a:txBody>
                  <a:tcPr marL="0" marR="0" marT="115725" marB="0">
                    <a:solidFill>
                      <a:schemeClr val="accent6">
                        <a:lumMod val="20000"/>
                        <a:lumOff val="80000"/>
                      </a:schemeClr>
                    </a:solidFill>
                  </a:tcPr>
                </a:tc>
                <a:extLst>
                  <a:ext uri="{0D108BD9-81ED-4DB2-BD59-A6C34878D82A}">
                    <a16:rowId xmlns:a16="http://schemas.microsoft.com/office/drawing/2014/main" val="10002"/>
                  </a:ext>
                </a:extLst>
              </a:tr>
              <a:tr h="386231">
                <a:tc>
                  <a:txBody>
                    <a:bodyPr/>
                    <a:lstStyle/>
                    <a:p>
                      <a:pPr marL="243840" marR="0" lvl="0" indent="0" algn="l" rtl="0">
                        <a:lnSpc>
                          <a:spcPct val="100000"/>
                        </a:lnSpc>
                        <a:spcBef>
                          <a:spcPts val="0"/>
                        </a:spcBef>
                        <a:spcAft>
                          <a:spcPts val="0"/>
                        </a:spcAft>
                        <a:buNone/>
                      </a:pPr>
                      <a:r>
                        <a:rPr lang="en-IN" sz="900" u="none" strike="noStrike" cap="none" dirty="0">
                          <a:solidFill>
                            <a:schemeClr val="dk1"/>
                          </a:solidFill>
                        </a:rPr>
                        <a:t>SPRINT 2</a:t>
                      </a:r>
                      <a:endParaRPr sz="900" u="none" strike="noStrike" cap="none" dirty="0">
                        <a:solidFill>
                          <a:schemeClr val="dk1"/>
                        </a:solidFill>
                        <a:latin typeface="Tahoma"/>
                        <a:ea typeface="Tahoma"/>
                        <a:cs typeface="Tahoma"/>
                        <a:sym typeface="Tahoma"/>
                      </a:endParaRPr>
                    </a:p>
                  </a:txBody>
                  <a:tcPr marL="0" marR="0" marT="118594" marB="0">
                    <a:solidFill>
                      <a:schemeClr val="accent6">
                        <a:lumMod val="20000"/>
                        <a:lumOff val="80000"/>
                      </a:schemeClr>
                    </a:solidFill>
                  </a:tcPr>
                </a:tc>
                <a:extLst>
                  <a:ext uri="{0D108BD9-81ED-4DB2-BD59-A6C34878D82A}">
                    <a16:rowId xmlns:a16="http://schemas.microsoft.com/office/drawing/2014/main" val="10003"/>
                  </a:ext>
                </a:extLst>
              </a:tr>
            </a:tbl>
          </a:graphicData>
        </a:graphic>
      </p:graphicFrame>
      <p:sp>
        <p:nvSpPr>
          <p:cNvPr id="371" name="Google Shape;371;p53"/>
          <p:cNvSpPr txBox="1"/>
          <p:nvPr/>
        </p:nvSpPr>
        <p:spPr>
          <a:xfrm>
            <a:off x="613706" y="2382019"/>
            <a:ext cx="4437450" cy="1285793"/>
          </a:xfrm>
          <a:prstGeom prst="rect">
            <a:avLst/>
          </a:prstGeom>
          <a:noFill/>
          <a:ln>
            <a:noFill/>
          </a:ln>
        </p:spPr>
        <p:txBody>
          <a:bodyPr spcFirstLastPara="1" wrap="square" lIns="0" tIns="50475" rIns="0" bIns="0" anchor="t" anchorCtr="0">
            <a:spAutoFit/>
          </a:bodyPr>
          <a:lstStyle/>
          <a:p>
            <a:endParaRPr sz="1350" dirty="0">
              <a:solidFill>
                <a:srgbClr val="2BA6ED"/>
              </a:solidFill>
              <a:latin typeface="Helvetica Neue Light"/>
              <a:ea typeface="Helvetica Neue Light"/>
              <a:cs typeface="Helvetica Neue Light"/>
              <a:sym typeface="Helvetica Neue Light"/>
            </a:endParaRPr>
          </a:p>
          <a:p>
            <a:r>
              <a:rPr lang="en-IN" sz="1350" dirty="0">
                <a:solidFill>
                  <a:srgbClr val="2BA6ED"/>
                </a:solidFill>
                <a:latin typeface="Arial" panose="020B0604020202020204" pitchFamily="34" charset="0"/>
                <a:ea typeface="Proxima Nova"/>
                <a:cs typeface="Arial" panose="020B0604020202020204" pitchFamily="34" charset="0"/>
                <a:sym typeface="Proxima Nova"/>
              </a:rPr>
              <a:t>Observation 2: Know How Things Relate?</a:t>
            </a:r>
            <a:endParaRPr sz="1350" dirty="0">
              <a:latin typeface="Helvetica Neue Light"/>
              <a:ea typeface="Helvetica Neue Light"/>
              <a:cs typeface="Helvetica Neue Light"/>
              <a:sym typeface="Helvetica Neue Light"/>
            </a:endParaRPr>
          </a:p>
          <a:p>
            <a:pPr marL="78581" marR="72390">
              <a:lnSpc>
                <a:spcPct val="115000"/>
              </a:lnSpc>
              <a:spcBef>
                <a:spcPts val="750"/>
              </a:spcBef>
            </a:pPr>
            <a:r>
              <a:rPr lang="en-IN" sz="1350" dirty="0">
                <a:latin typeface="Arial" panose="020B0604020202020204" pitchFamily="34" charset="0"/>
                <a:ea typeface="Proxima Nova"/>
                <a:cs typeface="Arial" panose="020B0604020202020204" pitchFamily="34" charset="0"/>
                <a:sym typeface="Proxima Nova"/>
              </a:rPr>
              <a:t>You can‘t see how everything fits together.</a:t>
            </a:r>
            <a:endParaRPr sz="1350" dirty="0">
              <a:latin typeface="Arial" panose="020B0604020202020204" pitchFamily="34" charset="0"/>
              <a:ea typeface="Proxima Nova"/>
              <a:cs typeface="Arial" panose="020B0604020202020204" pitchFamily="34" charset="0"/>
              <a:sym typeface="Proxima Nova"/>
            </a:endParaRPr>
          </a:p>
          <a:p>
            <a:pPr marL="78581" marR="72390">
              <a:lnSpc>
                <a:spcPct val="115000"/>
              </a:lnSpc>
            </a:pPr>
            <a:r>
              <a:rPr lang="en-IN" sz="1350" dirty="0">
                <a:latin typeface="Arial" panose="020B0604020202020204" pitchFamily="34" charset="0"/>
                <a:ea typeface="Proxima Nova"/>
                <a:cs typeface="Arial" panose="020B0604020202020204" pitchFamily="34" charset="0"/>
                <a:sym typeface="Proxima Nova"/>
              </a:rPr>
              <a:t>Making decisions on what to build next is difficult.</a:t>
            </a:r>
            <a:endParaRPr sz="1350" dirty="0">
              <a:latin typeface="Arial" panose="020B0604020202020204" pitchFamily="34" charset="0"/>
              <a:ea typeface="Proxima Nova"/>
              <a:cs typeface="Arial" panose="020B0604020202020204" pitchFamily="34" charset="0"/>
              <a:sym typeface="Proxima Nova"/>
            </a:endParaRPr>
          </a:p>
          <a:p>
            <a:pPr marL="78581" marR="72390">
              <a:lnSpc>
                <a:spcPct val="115000"/>
              </a:lnSpc>
            </a:pPr>
            <a:r>
              <a:rPr lang="en-IN" sz="1350" dirty="0">
                <a:latin typeface="Arial" panose="020B0604020202020204" pitchFamily="34" charset="0"/>
                <a:ea typeface="Proxima Nova"/>
                <a:cs typeface="Arial" panose="020B0604020202020204" pitchFamily="34" charset="0"/>
                <a:sym typeface="Proxima Nova"/>
              </a:rPr>
              <a:t>Sure you haven‘t forgotten about important features?</a:t>
            </a:r>
            <a:endParaRPr sz="1350" dirty="0">
              <a:latin typeface="Helvetica Neue Light"/>
              <a:ea typeface="Helvetica Neue Light"/>
              <a:cs typeface="Helvetica Neue Light"/>
              <a:sym typeface="Helvetica Neue Light"/>
            </a:endParaRPr>
          </a:p>
        </p:txBody>
      </p:sp>
      <p:sp>
        <p:nvSpPr>
          <p:cNvPr id="372" name="Google Shape;372;p53"/>
          <p:cNvSpPr txBox="1"/>
          <p:nvPr/>
        </p:nvSpPr>
        <p:spPr>
          <a:xfrm>
            <a:off x="513244" y="3781312"/>
            <a:ext cx="4437450" cy="839132"/>
          </a:xfrm>
          <a:prstGeom prst="rect">
            <a:avLst/>
          </a:prstGeom>
          <a:noFill/>
          <a:ln>
            <a:noFill/>
          </a:ln>
        </p:spPr>
        <p:txBody>
          <a:bodyPr spcFirstLastPara="1" wrap="square" lIns="0" tIns="50475" rIns="0" bIns="0" anchor="t" anchorCtr="0">
            <a:spAutoFit/>
          </a:bodyPr>
          <a:lstStyle/>
          <a:p>
            <a:r>
              <a:rPr lang="en-IN" sz="1350" dirty="0">
                <a:solidFill>
                  <a:srgbClr val="2BA6ED"/>
                </a:solidFill>
                <a:latin typeface="Helvetica Neue Light"/>
                <a:ea typeface="Helvetica Neue Light"/>
                <a:cs typeface="Helvetica Neue Light"/>
                <a:sym typeface="Helvetica Neue Light"/>
              </a:rPr>
              <a:t>  </a:t>
            </a:r>
            <a:r>
              <a:rPr lang="en-IN" sz="1350" dirty="0">
                <a:solidFill>
                  <a:srgbClr val="2BA6ED"/>
                </a:solidFill>
                <a:latin typeface="Arial" panose="020B0604020202020204" pitchFamily="34" charset="0"/>
                <a:ea typeface="Proxima Nova"/>
                <a:cs typeface="Arial" panose="020B0604020202020204" pitchFamily="34" charset="0"/>
                <a:sym typeface="Proxima Nova"/>
              </a:rPr>
              <a:t>Observation 3: Know You Build The Right Things?</a:t>
            </a:r>
            <a:endParaRPr sz="1350" dirty="0">
              <a:latin typeface="Helvetica Neue Light"/>
              <a:ea typeface="Helvetica Neue Light"/>
              <a:cs typeface="Helvetica Neue Light"/>
              <a:sym typeface="Helvetica Neue Light"/>
            </a:endParaRPr>
          </a:p>
          <a:p>
            <a:pPr marL="78581" marR="72390">
              <a:lnSpc>
                <a:spcPct val="115000"/>
              </a:lnSpc>
              <a:spcBef>
                <a:spcPts val="750"/>
              </a:spcBef>
            </a:pPr>
            <a:r>
              <a:rPr lang="en-IN" sz="1350" dirty="0">
                <a:latin typeface="Arial" panose="020B0604020202020204" pitchFamily="34" charset="0"/>
                <a:ea typeface="Proxima Nova"/>
                <a:cs typeface="Arial" panose="020B0604020202020204" pitchFamily="34" charset="0"/>
                <a:sym typeface="Proxima Nova"/>
              </a:rPr>
              <a:t>You can‘t see how your users experience the product.</a:t>
            </a:r>
            <a:endParaRPr sz="1350" dirty="0">
              <a:latin typeface="Arial" panose="020B0604020202020204" pitchFamily="34" charset="0"/>
              <a:ea typeface="Proxima Nova"/>
              <a:cs typeface="Arial" panose="020B0604020202020204" pitchFamily="34" charset="0"/>
              <a:sym typeface="Proxima Nova"/>
            </a:endParaRPr>
          </a:p>
          <a:p>
            <a:pPr marL="78581" marR="72390">
              <a:lnSpc>
                <a:spcPct val="115000"/>
              </a:lnSpc>
            </a:pPr>
            <a:r>
              <a:rPr lang="en-IN" sz="1350" dirty="0">
                <a:latin typeface="Arial" panose="020B0604020202020204" pitchFamily="34" charset="0"/>
                <a:ea typeface="Proxima Nova"/>
                <a:cs typeface="Arial" panose="020B0604020202020204" pitchFamily="34" charset="0"/>
                <a:sym typeface="Proxima Nova"/>
              </a:rPr>
              <a:t>Planning coherent, value-driven releases is difficult.</a:t>
            </a:r>
            <a:endParaRPr sz="1350" dirty="0">
              <a:latin typeface="Helvetica Neue Light"/>
              <a:ea typeface="Helvetica Neue Light"/>
              <a:cs typeface="Helvetica Neue Light"/>
              <a:sym typeface="Helvetica Neue Light"/>
            </a:endParaRPr>
          </a:p>
        </p:txBody>
      </p:sp>
      <p:pic>
        <p:nvPicPr>
          <p:cNvPr id="3" name="Graphic 2" descr="Lock with solid fill">
            <a:extLst>
              <a:ext uri="{FF2B5EF4-FFF2-40B4-BE49-F238E27FC236}">
                <a16:creationId xmlns:a16="http://schemas.microsoft.com/office/drawing/2014/main" id="{A8B0C013-0C73-5277-4A01-F0701EFE68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30985" y="1114680"/>
            <a:ext cx="457200" cy="457200"/>
          </a:xfrm>
          <a:prstGeom prst="rect">
            <a:avLst/>
          </a:prstGeom>
        </p:spPr>
      </p:pic>
      <p:pic>
        <p:nvPicPr>
          <p:cNvPr id="4" name="Graphic 3" descr="Lock with solid fill">
            <a:extLst>
              <a:ext uri="{FF2B5EF4-FFF2-40B4-BE49-F238E27FC236}">
                <a16:creationId xmlns:a16="http://schemas.microsoft.com/office/drawing/2014/main" id="{C9F4DA3D-B5CD-6521-1446-F8B030693A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30985" y="2241359"/>
            <a:ext cx="457200" cy="457200"/>
          </a:xfrm>
          <a:prstGeom prst="rect">
            <a:avLst/>
          </a:prstGeom>
        </p:spPr>
      </p:pic>
      <p:pic>
        <p:nvPicPr>
          <p:cNvPr id="5" name="Graphic 4" descr="Lock with solid fill">
            <a:extLst>
              <a:ext uri="{FF2B5EF4-FFF2-40B4-BE49-F238E27FC236}">
                <a16:creationId xmlns:a16="http://schemas.microsoft.com/office/drawing/2014/main" id="{0C1DA48D-785C-1CB4-55B1-0A999A4FB2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30985" y="3370388"/>
            <a:ext cx="457200" cy="4572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55"/>
          <p:cNvSpPr txBox="1">
            <a:spLocks noGrp="1"/>
          </p:cNvSpPr>
          <p:nvPr>
            <p:ph type="sldNum" idx="12"/>
          </p:nvPr>
        </p:nvSpPr>
        <p:spPr>
          <a:prstGeom prst="rect">
            <a:avLst/>
          </a:prstGeom>
          <a:noFill/>
          <a:ln>
            <a:noFill/>
          </a:ln>
        </p:spPr>
        <p:txBody>
          <a:bodyPr spcFirstLastPara="1" wrap="square" lIns="68569" tIns="34275" rIns="68569" bIns="34275" anchor="ctr" anchorCtr="0">
            <a:noAutofit/>
          </a:bodyPr>
          <a:lstStyle/>
          <a:p>
            <a:pPr>
              <a:buSzPts val="1300"/>
            </a:pPr>
            <a:fld id="{00000000-1234-1234-1234-123412341234}" type="slidenum">
              <a:rPr lang="en-IN" sz="975">
                <a:solidFill>
                  <a:schemeClr val="dk2"/>
                </a:solidFill>
              </a:rPr>
              <a:pPr>
                <a:buSzPts val="1300"/>
              </a:pPr>
              <a:t>23</a:t>
            </a:fld>
            <a:endParaRPr sz="975" dirty="0">
              <a:solidFill>
                <a:schemeClr val="dk2"/>
              </a:solidFill>
            </a:endParaRPr>
          </a:p>
        </p:txBody>
      </p:sp>
      <p:sp>
        <p:nvSpPr>
          <p:cNvPr id="385" name="Google Shape;385;p55"/>
          <p:cNvSpPr/>
          <p:nvPr/>
        </p:nvSpPr>
        <p:spPr>
          <a:xfrm>
            <a:off x="3012568" y="1249380"/>
            <a:ext cx="57150" cy="3785235"/>
          </a:xfrm>
          <a:custGeom>
            <a:avLst/>
            <a:gdLst/>
            <a:ahLst/>
            <a:cxnLst/>
            <a:rect l="l" t="t" r="r" b="b"/>
            <a:pathLst>
              <a:path w="76200" h="5046980" extrusionOk="0">
                <a:moveTo>
                  <a:pt x="47625" y="63480"/>
                </a:moveTo>
                <a:lnTo>
                  <a:pt x="28575" y="63480"/>
                </a:lnTo>
                <a:lnTo>
                  <a:pt x="28576" y="5046953"/>
                </a:lnTo>
                <a:lnTo>
                  <a:pt x="47626" y="5046953"/>
                </a:lnTo>
                <a:lnTo>
                  <a:pt x="47625" y="63480"/>
                </a:lnTo>
                <a:close/>
              </a:path>
              <a:path w="76200" h="5046980" extrusionOk="0">
                <a:moveTo>
                  <a:pt x="38100" y="0"/>
                </a:moveTo>
                <a:lnTo>
                  <a:pt x="0" y="76200"/>
                </a:lnTo>
                <a:lnTo>
                  <a:pt x="28575" y="76200"/>
                </a:lnTo>
                <a:lnTo>
                  <a:pt x="28575" y="63480"/>
                </a:lnTo>
                <a:lnTo>
                  <a:pt x="69840" y="63480"/>
                </a:lnTo>
                <a:lnTo>
                  <a:pt x="38100" y="0"/>
                </a:lnTo>
                <a:close/>
              </a:path>
              <a:path w="76200" h="5046980" extrusionOk="0">
                <a:moveTo>
                  <a:pt x="69840" y="63480"/>
                </a:moveTo>
                <a:lnTo>
                  <a:pt x="47625" y="63480"/>
                </a:lnTo>
                <a:lnTo>
                  <a:pt x="47625" y="76200"/>
                </a:lnTo>
                <a:lnTo>
                  <a:pt x="76200" y="76200"/>
                </a:lnTo>
                <a:lnTo>
                  <a:pt x="69840" y="63480"/>
                </a:lnTo>
                <a:close/>
              </a:path>
            </a:pathLst>
          </a:custGeom>
          <a:solidFill>
            <a:srgbClr val="1B2429"/>
          </a:solidFill>
          <a:ln>
            <a:noFill/>
          </a:ln>
        </p:spPr>
        <p:txBody>
          <a:bodyPr spcFirstLastPara="1" wrap="square" lIns="0" tIns="0" rIns="0" bIns="0" anchor="t" anchorCtr="0">
            <a:noAutofit/>
          </a:bodyPr>
          <a:lstStyle/>
          <a:p>
            <a:endParaRPr sz="1050" dirty="0"/>
          </a:p>
        </p:txBody>
      </p:sp>
      <p:sp>
        <p:nvSpPr>
          <p:cNvPr id="386" name="Google Shape;386;p55"/>
          <p:cNvSpPr txBox="1"/>
          <p:nvPr/>
        </p:nvSpPr>
        <p:spPr>
          <a:xfrm>
            <a:off x="596243" y="637246"/>
            <a:ext cx="2253150" cy="320276"/>
          </a:xfrm>
          <a:prstGeom prst="rect">
            <a:avLst/>
          </a:prstGeom>
          <a:noFill/>
          <a:ln>
            <a:noFill/>
          </a:ln>
        </p:spPr>
        <p:txBody>
          <a:bodyPr spcFirstLastPara="1" wrap="square" lIns="0" tIns="8569" rIns="0" bIns="0" anchor="ctr" anchorCtr="0">
            <a:spAutoFit/>
          </a:bodyPr>
          <a:lstStyle/>
          <a:p>
            <a:pPr marL="9525">
              <a:buSzPts val="2600"/>
            </a:pPr>
            <a:r>
              <a:rPr lang="en-IN" sz="2025" b="1" dirty="0">
                <a:solidFill>
                  <a:srgbClr val="454646"/>
                </a:solidFill>
                <a:latin typeface="Arial" panose="020B0604020202020204" pitchFamily="34" charset="0"/>
                <a:ea typeface="Helvetica Neue"/>
                <a:cs typeface="Arial" panose="020B0604020202020204" pitchFamily="34" charset="0"/>
                <a:sym typeface="Helvetica Neue"/>
              </a:rPr>
              <a:t>The Backlog</a:t>
            </a:r>
            <a:endParaRPr sz="2025" dirty="0">
              <a:solidFill>
                <a:schemeClr val="dk1"/>
              </a:solidFill>
              <a:latin typeface="Arial" panose="020B0604020202020204" pitchFamily="34" charset="0"/>
              <a:ea typeface="Helvetica Neue"/>
              <a:cs typeface="Arial" panose="020B0604020202020204" pitchFamily="34" charset="0"/>
              <a:sym typeface="Helvetica Neue"/>
            </a:endParaRPr>
          </a:p>
        </p:txBody>
      </p:sp>
      <p:sp>
        <p:nvSpPr>
          <p:cNvPr id="387" name="Google Shape;387;p55"/>
          <p:cNvSpPr txBox="1"/>
          <p:nvPr/>
        </p:nvSpPr>
        <p:spPr>
          <a:xfrm>
            <a:off x="2849396" y="1100663"/>
            <a:ext cx="515925" cy="148591"/>
          </a:xfrm>
          <a:prstGeom prst="rect">
            <a:avLst/>
          </a:prstGeom>
          <a:noFill/>
          <a:ln>
            <a:noFill/>
          </a:ln>
        </p:spPr>
        <p:txBody>
          <a:bodyPr spcFirstLastPara="1" wrap="square" lIns="0" tIns="9994" rIns="0" bIns="0" anchor="t" anchorCtr="0">
            <a:spAutoFit/>
          </a:bodyPr>
          <a:lstStyle/>
          <a:p>
            <a:pPr marL="9525"/>
            <a:r>
              <a:rPr lang="en-IN" sz="900" i="1" dirty="0">
                <a:solidFill>
                  <a:srgbClr val="1B2429"/>
                </a:solidFill>
                <a:latin typeface="Trebuchet MS"/>
                <a:ea typeface="Trebuchet MS"/>
                <a:cs typeface="Trebuchet MS"/>
                <a:sym typeface="Trebuchet MS"/>
              </a:rPr>
              <a:t>priority</a:t>
            </a:r>
            <a:endParaRPr sz="900" dirty="0">
              <a:latin typeface="Trebuchet MS"/>
              <a:ea typeface="Trebuchet MS"/>
              <a:cs typeface="Trebuchet MS"/>
              <a:sym typeface="Trebuchet MS"/>
            </a:endParaRPr>
          </a:p>
        </p:txBody>
      </p:sp>
      <p:grpSp>
        <p:nvGrpSpPr>
          <p:cNvPr id="388" name="Google Shape;388;p55"/>
          <p:cNvGrpSpPr/>
          <p:nvPr/>
        </p:nvGrpSpPr>
        <p:grpSpPr>
          <a:xfrm>
            <a:off x="3275176" y="621243"/>
            <a:ext cx="5830756" cy="3892317"/>
            <a:chOff x="4367021" y="-329676"/>
            <a:chExt cx="7679879" cy="6347549"/>
          </a:xfrm>
        </p:grpSpPr>
        <p:grpSp>
          <p:nvGrpSpPr>
            <p:cNvPr id="389" name="Google Shape;389;p55"/>
            <p:cNvGrpSpPr/>
            <p:nvPr/>
          </p:nvGrpSpPr>
          <p:grpSpPr>
            <a:xfrm>
              <a:off x="4567539" y="-329676"/>
              <a:ext cx="7479361" cy="6347549"/>
              <a:chOff x="4567539" y="-329676"/>
              <a:chExt cx="7479361" cy="6347549"/>
            </a:xfrm>
          </p:grpSpPr>
          <p:sp>
            <p:nvSpPr>
              <p:cNvPr id="390" name="Google Shape;390;p55"/>
              <p:cNvSpPr txBox="1"/>
              <p:nvPr/>
            </p:nvSpPr>
            <p:spPr>
              <a:xfrm>
                <a:off x="4567539" y="-329676"/>
                <a:ext cx="5351701" cy="522303"/>
              </a:xfrm>
              <a:prstGeom prst="rect">
                <a:avLst/>
              </a:prstGeom>
              <a:noFill/>
              <a:ln>
                <a:noFill/>
              </a:ln>
            </p:spPr>
            <p:txBody>
              <a:bodyPr spcFirstLastPara="1" wrap="square" lIns="0" tIns="8569" rIns="0" bIns="0" anchor="ctr" anchorCtr="0">
                <a:spAutoFit/>
              </a:bodyPr>
              <a:lstStyle/>
              <a:p>
                <a:pPr marL="9525">
                  <a:buSzPts val="2600"/>
                </a:pPr>
                <a:r>
                  <a:rPr lang="en-IN" sz="2025" b="1" dirty="0">
                    <a:solidFill>
                      <a:srgbClr val="454646"/>
                    </a:solidFill>
                    <a:latin typeface="Arial" panose="020B0604020202020204" pitchFamily="34" charset="0"/>
                    <a:ea typeface="Helvetica Neue"/>
                    <a:cs typeface="Arial" panose="020B0604020202020204" pitchFamily="34" charset="0"/>
                    <a:sym typeface="Helvetica Neue"/>
                  </a:rPr>
                  <a:t>The User Story Map</a:t>
                </a:r>
                <a:endParaRPr sz="2025" b="1" dirty="0">
                  <a:solidFill>
                    <a:srgbClr val="454646"/>
                  </a:solidFill>
                  <a:latin typeface="Arial" panose="020B0604020202020204" pitchFamily="34" charset="0"/>
                  <a:ea typeface="Helvetica Neue"/>
                  <a:cs typeface="Arial" panose="020B0604020202020204" pitchFamily="34" charset="0"/>
                  <a:sym typeface="Helvetica Neue"/>
                </a:endParaRPr>
              </a:p>
            </p:txBody>
          </p:sp>
          <p:sp>
            <p:nvSpPr>
              <p:cNvPr id="391" name="Google Shape;391;p55"/>
              <p:cNvSpPr/>
              <p:nvPr/>
            </p:nvSpPr>
            <p:spPr>
              <a:xfrm>
                <a:off x="4994539" y="272353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392" name="Google Shape;392;p55"/>
              <p:cNvSpPr/>
              <p:nvPr/>
            </p:nvSpPr>
            <p:spPr>
              <a:xfrm>
                <a:off x="5979495" y="272353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393" name="Google Shape;393;p55"/>
              <p:cNvSpPr/>
              <p:nvPr/>
            </p:nvSpPr>
            <p:spPr>
              <a:xfrm>
                <a:off x="6964451" y="272353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394" name="Google Shape;394;p55"/>
              <p:cNvSpPr/>
              <p:nvPr/>
            </p:nvSpPr>
            <p:spPr>
              <a:xfrm>
                <a:off x="7949406" y="272353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395" name="Google Shape;395;p55"/>
              <p:cNvSpPr/>
              <p:nvPr/>
            </p:nvSpPr>
            <p:spPr>
              <a:xfrm>
                <a:off x="8934363" y="272353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396" name="Google Shape;396;p55"/>
              <p:cNvSpPr/>
              <p:nvPr/>
            </p:nvSpPr>
            <p:spPr>
              <a:xfrm>
                <a:off x="9919318" y="272353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397" name="Google Shape;397;p55"/>
              <p:cNvSpPr/>
              <p:nvPr/>
            </p:nvSpPr>
            <p:spPr>
              <a:xfrm>
                <a:off x="10904273" y="272353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398" name="Google Shape;398;p55"/>
              <p:cNvSpPr/>
              <p:nvPr/>
            </p:nvSpPr>
            <p:spPr>
              <a:xfrm>
                <a:off x="4994539" y="197846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399" name="Google Shape;399;p55"/>
              <p:cNvSpPr/>
              <p:nvPr/>
            </p:nvSpPr>
            <p:spPr>
              <a:xfrm>
                <a:off x="6964451" y="197846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400" name="Google Shape;400;p55"/>
              <p:cNvSpPr/>
              <p:nvPr/>
            </p:nvSpPr>
            <p:spPr>
              <a:xfrm>
                <a:off x="9923872" y="197846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401" name="Google Shape;401;p55"/>
              <p:cNvSpPr/>
              <p:nvPr/>
            </p:nvSpPr>
            <p:spPr>
              <a:xfrm>
                <a:off x="4994539" y="37032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02" name="Google Shape;402;p55"/>
              <p:cNvSpPr/>
              <p:nvPr/>
            </p:nvSpPr>
            <p:spPr>
              <a:xfrm>
                <a:off x="5979495" y="37032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03" name="Google Shape;403;p55"/>
              <p:cNvSpPr/>
              <p:nvPr/>
            </p:nvSpPr>
            <p:spPr>
              <a:xfrm>
                <a:off x="6964451" y="37032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04" name="Google Shape;404;p55"/>
              <p:cNvSpPr/>
              <p:nvPr/>
            </p:nvSpPr>
            <p:spPr>
              <a:xfrm>
                <a:off x="9923872" y="370328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05" name="Google Shape;405;p55"/>
              <p:cNvSpPr/>
              <p:nvPr/>
            </p:nvSpPr>
            <p:spPr>
              <a:xfrm>
                <a:off x="10904273" y="370328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06" name="Google Shape;406;p55"/>
              <p:cNvSpPr/>
              <p:nvPr/>
            </p:nvSpPr>
            <p:spPr>
              <a:xfrm>
                <a:off x="5979495" y="4448350"/>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07" name="Google Shape;407;p55"/>
              <p:cNvSpPr/>
              <p:nvPr/>
            </p:nvSpPr>
            <p:spPr>
              <a:xfrm>
                <a:off x="7949406" y="444835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08" name="Google Shape;408;p55"/>
              <p:cNvSpPr/>
              <p:nvPr/>
            </p:nvSpPr>
            <p:spPr>
              <a:xfrm>
                <a:off x="8934363" y="444835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09" name="Google Shape;409;p55"/>
              <p:cNvSpPr/>
              <p:nvPr/>
            </p:nvSpPr>
            <p:spPr>
              <a:xfrm>
                <a:off x="4666295" y="3507257"/>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410" name="Google Shape;410;p55"/>
              <p:cNvSpPr/>
              <p:nvPr/>
            </p:nvSpPr>
            <p:spPr>
              <a:xfrm>
                <a:off x="4666295" y="5235052"/>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411" name="Google Shape;411;p55"/>
              <p:cNvSpPr/>
              <p:nvPr/>
            </p:nvSpPr>
            <p:spPr>
              <a:xfrm>
                <a:off x="4994539" y="54247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12" name="Google Shape;412;p55"/>
              <p:cNvSpPr/>
              <p:nvPr/>
            </p:nvSpPr>
            <p:spPr>
              <a:xfrm>
                <a:off x="5979495" y="54247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13" name="Google Shape;413;p55"/>
              <p:cNvSpPr/>
              <p:nvPr/>
            </p:nvSpPr>
            <p:spPr>
              <a:xfrm>
                <a:off x="6964451" y="54247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14" name="Google Shape;414;p55"/>
              <p:cNvSpPr/>
              <p:nvPr/>
            </p:nvSpPr>
            <p:spPr>
              <a:xfrm>
                <a:off x="8934363" y="542478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grpSp>
            <p:nvGrpSpPr>
              <p:cNvPr id="415" name="Google Shape;415;p55"/>
              <p:cNvGrpSpPr/>
              <p:nvPr/>
            </p:nvGrpSpPr>
            <p:grpSpPr>
              <a:xfrm>
                <a:off x="5106139" y="1117119"/>
                <a:ext cx="605155" cy="690880"/>
                <a:chOff x="3473239" y="1117119"/>
                <a:chExt cx="605155" cy="690880"/>
              </a:xfrm>
            </p:grpSpPr>
            <p:sp>
              <p:nvSpPr>
                <p:cNvPr id="416" name="Google Shape;416;p55"/>
                <p:cNvSpPr/>
                <p:nvPr/>
              </p:nvSpPr>
              <p:spPr>
                <a:xfrm>
                  <a:off x="3473239" y="111711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417" name="Google Shape;417;p55"/>
                <p:cNvSpPr/>
                <p:nvPr/>
              </p:nvSpPr>
              <p:spPr>
                <a:xfrm>
                  <a:off x="3560754" y="123397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grpSp>
          <p:grpSp>
            <p:nvGrpSpPr>
              <p:cNvPr id="418" name="Google Shape;418;p55"/>
              <p:cNvGrpSpPr/>
              <p:nvPr/>
            </p:nvGrpSpPr>
            <p:grpSpPr>
              <a:xfrm>
                <a:off x="10035472" y="1117119"/>
                <a:ext cx="605155" cy="690880"/>
                <a:chOff x="8402572" y="1117119"/>
                <a:chExt cx="605155" cy="690880"/>
              </a:xfrm>
            </p:grpSpPr>
            <p:sp>
              <p:nvSpPr>
                <p:cNvPr id="419" name="Google Shape;419;p55"/>
                <p:cNvSpPr/>
                <p:nvPr/>
              </p:nvSpPr>
              <p:spPr>
                <a:xfrm>
                  <a:off x="8402572" y="111711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420" name="Google Shape;420;p55"/>
                <p:cNvSpPr/>
                <p:nvPr/>
              </p:nvSpPr>
              <p:spPr>
                <a:xfrm>
                  <a:off x="8490088" y="123397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grpSp>
          <p:cxnSp>
            <p:nvCxnSpPr>
              <p:cNvPr id="421" name="Google Shape;421;p55"/>
              <p:cNvCxnSpPr/>
              <p:nvPr/>
            </p:nvCxnSpPr>
            <p:spPr>
              <a:xfrm>
                <a:off x="6159590" y="1085521"/>
                <a:ext cx="3477217" cy="0"/>
              </a:xfrm>
              <a:prstGeom prst="straightConnector1">
                <a:avLst/>
              </a:prstGeom>
              <a:noFill/>
              <a:ln w="38100" cap="flat" cmpd="sng">
                <a:solidFill>
                  <a:schemeClr val="dk1"/>
                </a:solidFill>
                <a:prstDash val="solid"/>
                <a:round/>
                <a:headEnd type="none" w="sm" len="sm"/>
                <a:tailEnd type="stealth" w="med" len="med"/>
              </a:ln>
              <a:effectLst>
                <a:outerShdw blurRad="40000" dist="23000" dir="5400000" rotWithShape="0">
                  <a:srgbClr val="000000">
                    <a:alpha val="34901"/>
                  </a:srgbClr>
                </a:outerShdw>
              </a:effectLst>
            </p:spPr>
          </p:cxnSp>
          <p:sp>
            <p:nvSpPr>
              <p:cNvPr id="422" name="Google Shape;422;p55"/>
              <p:cNvSpPr txBox="1"/>
              <p:nvPr/>
            </p:nvSpPr>
            <p:spPr>
              <a:xfrm>
                <a:off x="6085202" y="716188"/>
                <a:ext cx="1555800" cy="376389"/>
              </a:xfrm>
              <a:prstGeom prst="rect">
                <a:avLst/>
              </a:prstGeom>
              <a:noFill/>
              <a:ln>
                <a:noFill/>
              </a:ln>
            </p:spPr>
            <p:txBody>
              <a:bodyPr spcFirstLastPara="1" wrap="square" lIns="68569" tIns="34275" rIns="68569" bIns="34275" anchor="t" anchorCtr="0">
                <a:spAutoFit/>
              </a:bodyPr>
              <a:lstStyle/>
              <a:p>
                <a:r>
                  <a:rPr lang="en-IN" sz="1050" dirty="0"/>
                  <a:t>Time</a:t>
                </a:r>
                <a:endParaRPr sz="1050" dirty="0"/>
              </a:p>
            </p:txBody>
          </p:sp>
          <p:cxnSp>
            <p:nvCxnSpPr>
              <p:cNvPr id="423" name="Google Shape;423;p55"/>
              <p:cNvCxnSpPr/>
              <p:nvPr/>
            </p:nvCxnSpPr>
            <p:spPr>
              <a:xfrm>
                <a:off x="4567543" y="1294968"/>
                <a:ext cx="0" cy="2499992"/>
              </a:xfrm>
              <a:prstGeom prst="straightConnector1">
                <a:avLst/>
              </a:prstGeom>
              <a:noFill/>
              <a:ln w="38100" cap="flat" cmpd="sng">
                <a:solidFill>
                  <a:schemeClr val="dk1"/>
                </a:solidFill>
                <a:prstDash val="solid"/>
                <a:round/>
                <a:headEnd type="none" w="sm" len="sm"/>
                <a:tailEnd type="stealth" w="med" len="med"/>
              </a:ln>
              <a:effectLst>
                <a:outerShdw blurRad="40000" dist="23000" dir="5400000" rotWithShape="0">
                  <a:srgbClr val="000000">
                    <a:alpha val="34901"/>
                  </a:srgbClr>
                </a:outerShdw>
              </a:effectLst>
            </p:spPr>
          </p:cxnSp>
        </p:grpSp>
        <p:sp>
          <p:nvSpPr>
            <p:cNvPr id="424" name="Google Shape;424;p55"/>
            <p:cNvSpPr txBox="1"/>
            <p:nvPr/>
          </p:nvSpPr>
          <p:spPr>
            <a:xfrm rot="16200000">
              <a:off x="3882270" y="4105982"/>
              <a:ext cx="1273500" cy="303997"/>
            </a:xfrm>
            <a:prstGeom prst="rect">
              <a:avLst/>
            </a:prstGeom>
            <a:noFill/>
            <a:ln>
              <a:noFill/>
            </a:ln>
          </p:spPr>
          <p:txBody>
            <a:bodyPr spcFirstLastPara="1" wrap="square" lIns="68569" tIns="34275" rIns="68569" bIns="34275" anchor="t" anchorCtr="0">
              <a:spAutoFit/>
            </a:bodyPr>
            <a:lstStyle/>
            <a:p>
              <a:r>
                <a:rPr lang="en-IN" sz="1050" dirty="0"/>
                <a:t>necessity</a:t>
              </a:r>
              <a:endParaRPr sz="1050" dirty="0"/>
            </a:p>
          </p:txBody>
        </p:sp>
      </p:grpSp>
      <p:cxnSp>
        <p:nvCxnSpPr>
          <p:cNvPr id="425" name="Google Shape;425;p55"/>
          <p:cNvCxnSpPr/>
          <p:nvPr/>
        </p:nvCxnSpPr>
        <p:spPr>
          <a:xfrm>
            <a:off x="3275103" y="10463"/>
            <a:ext cx="0" cy="5122575"/>
          </a:xfrm>
          <a:prstGeom prst="straightConnector1">
            <a:avLst/>
          </a:prstGeom>
          <a:noFill/>
          <a:ln w="38100" cap="flat" cmpd="sng">
            <a:solidFill>
              <a:schemeClr val="accent2"/>
            </a:solidFill>
            <a:prstDash val="solid"/>
            <a:round/>
            <a:headEnd type="none" w="sm" len="sm"/>
            <a:tailEnd type="none" w="sm" len="sm"/>
          </a:ln>
          <a:effectLst>
            <a:outerShdw blurRad="40000" dist="23000" dir="5400000" rotWithShape="0">
              <a:srgbClr val="000000">
                <a:alpha val="34901"/>
              </a:srgbClr>
            </a:outerShdw>
          </a:effectLst>
        </p:spPr>
      </p:cxnSp>
      <p:graphicFrame>
        <p:nvGraphicFramePr>
          <p:cNvPr id="426" name="Google Shape;426;p55"/>
          <p:cNvGraphicFramePr/>
          <p:nvPr>
            <p:extLst>
              <p:ext uri="{D42A27DB-BD31-4B8C-83A1-F6EECF244321}">
                <p14:modId xmlns:p14="http://schemas.microsoft.com/office/powerpoint/2010/main" val="2261642403"/>
              </p:ext>
            </p:extLst>
          </p:nvPr>
        </p:nvGraphicFramePr>
        <p:xfrm>
          <a:off x="293055" y="1249372"/>
          <a:ext cx="2514019" cy="3703538"/>
        </p:xfrm>
        <a:graphic>
          <a:graphicData uri="http://schemas.openxmlformats.org/drawingml/2006/table">
            <a:tbl>
              <a:tblPr firstRow="1" bandRow="1">
                <a:noFill/>
              </a:tblPr>
              <a:tblGrid>
                <a:gridCol w="2514019">
                  <a:extLst>
                    <a:ext uri="{9D8B030D-6E8A-4147-A177-3AD203B41FA5}">
                      <a16:colId xmlns:a16="http://schemas.microsoft.com/office/drawing/2014/main" val="20000"/>
                    </a:ext>
                  </a:extLst>
                </a:gridCol>
              </a:tblGrid>
              <a:tr h="1108500">
                <a:tc>
                  <a:txBody>
                    <a:bodyPr/>
                    <a:lstStyle/>
                    <a:p>
                      <a:pPr marL="243840" marR="0" lvl="0" indent="0" algn="l" rtl="0">
                        <a:lnSpc>
                          <a:spcPct val="100000"/>
                        </a:lnSpc>
                        <a:spcBef>
                          <a:spcPts val="0"/>
                        </a:spcBef>
                        <a:spcAft>
                          <a:spcPts val="0"/>
                        </a:spcAft>
                        <a:buNone/>
                      </a:pPr>
                      <a:r>
                        <a:rPr lang="en-IN" sz="900" u="none" strike="noStrike" cap="none" dirty="0">
                          <a:solidFill>
                            <a:schemeClr val="dk1"/>
                          </a:solidFill>
                        </a:rPr>
                        <a:t>SPRINT 1</a:t>
                      </a:r>
                      <a:endParaRPr sz="1100" dirty="0"/>
                    </a:p>
                    <a:p>
                      <a:pPr marL="0" marR="0" lvl="0" indent="0" algn="l" rtl="0">
                        <a:lnSpc>
                          <a:spcPct val="100000"/>
                        </a:lnSpc>
                        <a:spcBef>
                          <a:spcPts val="55"/>
                        </a:spcBef>
                        <a:spcAft>
                          <a:spcPts val="0"/>
                        </a:spcAft>
                        <a:buNone/>
                      </a:pPr>
                      <a:endParaRPr sz="1200" u="none" strike="noStrike" cap="none" dirty="0"/>
                    </a:p>
                    <a:p>
                      <a:pPr marL="0" marR="0" lvl="0" indent="0" algn="ctr" rtl="0">
                        <a:lnSpc>
                          <a:spcPct val="100000"/>
                        </a:lnSpc>
                        <a:spcBef>
                          <a:spcPts val="0"/>
                        </a:spcBef>
                        <a:spcAft>
                          <a:spcPts val="0"/>
                        </a:spcAft>
                        <a:buNone/>
                      </a:pPr>
                      <a:r>
                        <a:rPr lang="en-IN" sz="1700" u="none" strike="noStrike" cap="none" dirty="0">
                          <a:solidFill>
                            <a:srgbClr val="454646"/>
                          </a:solidFill>
                        </a:rPr>
                        <a:t>Do stuff...</a:t>
                      </a:r>
                      <a:endParaRPr sz="1700" u="none" strike="noStrike" cap="none" dirty="0">
                        <a:latin typeface="Tahoma"/>
                        <a:ea typeface="Tahoma"/>
                        <a:cs typeface="Tahoma"/>
                        <a:sym typeface="Tahoma"/>
                      </a:endParaRPr>
                    </a:p>
                  </a:txBody>
                  <a:tcPr marL="0" marR="0" marT="113831" marB="0">
                    <a:solidFill>
                      <a:schemeClr val="accent6">
                        <a:lumMod val="20000"/>
                        <a:lumOff val="80000"/>
                      </a:schemeClr>
                    </a:solidFill>
                  </a:tcPr>
                </a:tc>
                <a:extLst>
                  <a:ext uri="{0D108BD9-81ED-4DB2-BD59-A6C34878D82A}">
                    <a16:rowId xmlns:a16="http://schemas.microsoft.com/office/drawing/2014/main" val="10000"/>
                  </a:ext>
                </a:extLst>
              </a:tr>
              <a:tr h="1108500">
                <a:tc>
                  <a:txBody>
                    <a:bodyPr/>
                    <a:lstStyle/>
                    <a:p>
                      <a:pPr marL="243840" marR="0" lvl="0" indent="0" algn="l" rtl="0">
                        <a:lnSpc>
                          <a:spcPct val="100000"/>
                        </a:lnSpc>
                        <a:spcBef>
                          <a:spcPts val="0"/>
                        </a:spcBef>
                        <a:spcAft>
                          <a:spcPts val="0"/>
                        </a:spcAft>
                        <a:buNone/>
                      </a:pPr>
                      <a:r>
                        <a:rPr lang="en-IN" sz="900" u="none" strike="noStrike" cap="none" dirty="0">
                          <a:solidFill>
                            <a:schemeClr val="dk1"/>
                          </a:solidFill>
                        </a:rPr>
                        <a:t>SPRINT 1</a:t>
                      </a:r>
                      <a:endParaRPr sz="1100" dirty="0"/>
                    </a:p>
                    <a:p>
                      <a:pPr marL="0" marR="0" lvl="0" indent="0" algn="l" rtl="0">
                        <a:lnSpc>
                          <a:spcPct val="100000"/>
                        </a:lnSpc>
                        <a:spcBef>
                          <a:spcPts val="25"/>
                        </a:spcBef>
                        <a:spcAft>
                          <a:spcPts val="0"/>
                        </a:spcAft>
                        <a:buNone/>
                      </a:pPr>
                      <a:endParaRPr sz="1200" u="none" strike="noStrike" cap="none" dirty="0"/>
                    </a:p>
                    <a:p>
                      <a:pPr marL="849630" marR="0" lvl="0" indent="0" algn="l" rtl="0">
                        <a:lnSpc>
                          <a:spcPct val="100000"/>
                        </a:lnSpc>
                        <a:spcBef>
                          <a:spcPts val="5"/>
                        </a:spcBef>
                        <a:spcAft>
                          <a:spcPts val="0"/>
                        </a:spcAft>
                        <a:buNone/>
                      </a:pPr>
                      <a:r>
                        <a:rPr lang="en-IN" sz="1700" u="none" strike="noStrike" cap="none" dirty="0">
                          <a:solidFill>
                            <a:srgbClr val="454646"/>
                          </a:solidFill>
                        </a:rPr>
                        <a:t>Do more stuff...</a:t>
                      </a:r>
                      <a:endParaRPr sz="1700" u="none" strike="noStrike" cap="none" dirty="0">
                        <a:latin typeface="Tahoma"/>
                        <a:ea typeface="Tahoma"/>
                        <a:cs typeface="Tahoma"/>
                        <a:sym typeface="Tahoma"/>
                      </a:endParaRPr>
                    </a:p>
                  </a:txBody>
                  <a:tcPr marL="0" marR="0" marT="117150" marB="0">
                    <a:solidFill>
                      <a:schemeClr val="accent6">
                        <a:lumMod val="20000"/>
                        <a:lumOff val="80000"/>
                      </a:schemeClr>
                    </a:solidFill>
                  </a:tcPr>
                </a:tc>
                <a:extLst>
                  <a:ext uri="{0D108BD9-81ED-4DB2-BD59-A6C34878D82A}">
                    <a16:rowId xmlns:a16="http://schemas.microsoft.com/office/drawing/2014/main" val="10001"/>
                  </a:ext>
                </a:extLst>
              </a:tr>
              <a:tr h="1108500">
                <a:tc>
                  <a:txBody>
                    <a:bodyPr/>
                    <a:lstStyle/>
                    <a:p>
                      <a:pPr marL="243840" marR="0" lvl="0" indent="0" algn="l" rtl="0">
                        <a:lnSpc>
                          <a:spcPct val="100000"/>
                        </a:lnSpc>
                        <a:spcBef>
                          <a:spcPts val="0"/>
                        </a:spcBef>
                        <a:spcAft>
                          <a:spcPts val="0"/>
                        </a:spcAft>
                        <a:buNone/>
                      </a:pPr>
                      <a:r>
                        <a:rPr lang="en-IN" sz="900" u="none" strike="noStrike" cap="none" dirty="0">
                          <a:solidFill>
                            <a:schemeClr val="dk1"/>
                          </a:solidFill>
                        </a:rPr>
                        <a:t>SPRINT</a:t>
                      </a:r>
                      <a:r>
                        <a:rPr lang="en-IN" sz="900" u="none" strike="noStrike" cap="none" dirty="0">
                          <a:solidFill>
                            <a:srgbClr val="FFFFFF"/>
                          </a:solidFill>
                        </a:rPr>
                        <a:t> 2</a:t>
                      </a:r>
                      <a:endParaRPr sz="900" u="none" strike="noStrike" cap="none" dirty="0"/>
                    </a:p>
                    <a:p>
                      <a:pPr marL="0" marR="0" lvl="0" indent="0" algn="l" rtl="0">
                        <a:lnSpc>
                          <a:spcPct val="100000"/>
                        </a:lnSpc>
                        <a:spcBef>
                          <a:spcPts val="30"/>
                        </a:spcBef>
                        <a:spcAft>
                          <a:spcPts val="0"/>
                        </a:spcAft>
                        <a:buNone/>
                      </a:pPr>
                      <a:endParaRPr sz="1200" u="none" strike="noStrike" cap="none" dirty="0"/>
                    </a:p>
                    <a:p>
                      <a:pPr marL="0" marR="0" lvl="0" indent="0" algn="ctr" rtl="0">
                        <a:lnSpc>
                          <a:spcPct val="100000"/>
                        </a:lnSpc>
                        <a:spcBef>
                          <a:spcPts val="0"/>
                        </a:spcBef>
                        <a:spcAft>
                          <a:spcPts val="0"/>
                        </a:spcAft>
                        <a:buNone/>
                      </a:pPr>
                      <a:r>
                        <a:rPr lang="en-IN" sz="1700" u="none" strike="noStrike" cap="none" dirty="0">
                          <a:solidFill>
                            <a:srgbClr val="454646"/>
                          </a:solidFill>
                        </a:rPr>
                        <a:t>Do even more stuff...</a:t>
                      </a:r>
                      <a:endParaRPr sz="1700" u="none" strike="noStrike" cap="none" dirty="0">
                        <a:latin typeface="Tahoma"/>
                        <a:ea typeface="Tahoma"/>
                        <a:cs typeface="Tahoma"/>
                        <a:sym typeface="Tahoma"/>
                      </a:endParaRPr>
                    </a:p>
                  </a:txBody>
                  <a:tcPr marL="0" marR="0" marT="115725" marB="0">
                    <a:solidFill>
                      <a:schemeClr val="accent6">
                        <a:lumMod val="20000"/>
                        <a:lumOff val="80000"/>
                      </a:schemeClr>
                    </a:solidFill>
                  </a:tcPr>
                </a:tc>
                <a:extLst>
                  <a:ext uri="{0D108BD9-81ED-4DB2-BD59-A6C34878D82A}">
                    <a16:rowId xmlns:a16="http://schemas.microsoft.com/office/drawing/2014/main" val="10002"/>
                  </a:ext>
                </a:extLst>
              </a:tr>
              <a:tr h="378038">
                <a:tc>
                  <a:txBody>
                    <a:bodyPr/>
                    <a:lstStyle/>
                    <a:p>
                      <a:pPr marL="243840" marR="0" lvl="0" indent="0" algn="l" rtl="0">
                        <a:lnSpc>
                          <a:spcPct val="100000"/>
                        </a:lnSpc>
                        <a:spcBef>
                          <a:spcPts val="0"/>
                        </a:spcBef>
                        <a:spcAft>
                          <a:spcPts val="0"/>
                        </a:spcAft>
                        <a:buNone/>
                      </a:pPr>
                      <a:r>
                        <a:rPr lang="en-IN" sz="900" u="none" strike="noStrike" cap="none" dirty="0">
                          <a:solidFill>
                            <a:schemeClr val="dk1"/>
                          </a:solidFill>
                        </a:rPr>
                        <a:t>SPRINT 2</a:t>
                      </a:r>
                      <a:endParaRPr sz="900" u="none" strike="noStrike" cap="none" dirty="0">
                        <a:solidFill>
                          <a:schemeClr val="dk1"/>
                        </a:solidFill>
                        <a:latin typeface="Tahoma"/>
                        <a:ea typeface="Tahoma"/>
                        <a:cs typeface="Tahoma"/>
                        <a:sym typeface="Tahoma"/>
                      </a:endParaRPr>
                    </a:p>
                  </a:txBody>
                  <a:tcPr marL="0" marR="0" marT="118594" marB="0">
                    <a:solidFill>
                      <a:schemeClr val="accent6">
                        <a:lumMod val="20000"/>
                        <a:lumOff val="80000"/>
                      </a:schemeClr>
                    </a:solidFill>
                  </a:tcPr>
                </a:tc>
                <a:extLst>
                  <a:ext uri="{0D108BD9-81ED-4DB2-BD59-A6C34878D82A}">
                    <a16:rowId xmlns:a16="http://schemas.microsoft.com/office/drawing/2014/main" val="10003"/>
                  </a:ext>
                </a:extLst>
              </a:tr>
            </a:tbl>
          </a:graphicData>
        </a:graphic>
      </p:graphicFrame>
      <p:pic>
        <p:nvPicPr>
          <p:cNvPr id="4" name="Graphic 3" descr="Lock with solid fill">
            <a:extLst>
              <a:ext uri="{FF2B5EF4-FFF2-40B4-BE49-F238E27FC236}">
                <a16:creationId xmlns:a16="http://schemas.microsoft.com/office/drawing/2014/main" id="{C5EF3C09-DCE6-BF15-AD2C-0F92EC7D62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1404" y="1250322"/>
            <a:ext cx="457200" cy="457200"/>
          </a:xfrm>
          <a:prstGeom prst="rect">
            <a:avLst/>
          </a:prstGeom>
        </p:spPr>
      </p:pic>
      <p:pic>
        <p:nvPicPr>
          <p:cNvPr id="5" name="Graphic 4" descr="Lock with solid fill">
            <a:extLst>
              <a:ext uri="{FF2B5EF4-FFF2-40B4-BE49-F238E27FC236}">
                <a16:creationId xmlns:a16="http://schemas.microsoft.com/office/drawing/2014/main" id="{07EBC919-C9CA-BCB2-B1A3-14CA98A95A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1404" y="2377001"/>
            <a:ext cx="457200" cy="457200"/>
          </a:xfrm>
          <a:prstGeom prst="rect">
            <a:avLst/>
          </a:prstGeom>
        </p:spPr>
      </p:pic>
      <p:pic>
        <p:nvPicPr>
          <p:cNvPr id="6" name="Graphic 5" descr="Lock with solid fill">
            <a:extLst>
              <a:ext uri="{FF2B5EF4-FFF2-40B4-BE49-F238E27FC236}">
                <a16:creationId xmlns:a16="http://schemas.microsoft.com/office/drawing/2014/main" id="{5CA749A8-C6AF-3C84-BD7C-B70E7E6694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41404" y="3506030"/>
            <a:ext cx="457200" cy="4572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8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2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8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31" name="Google Shape;431;p56"/>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3200"/>
            </a:pPr>
            <a:r>
              <a:rPr lang="en-IN" dirty="0">
                <a:latin typeface="Arial" panose="020B0604020202020204" pitchFamily="34" charset="0"/>
                <a:ea typeface="Helvetica Neue"/>
                <a:cs typeface="Arial" panose="020B0604020202020204" pitchFamily="34" charset="0"/>
                <a:sym typeface="Helvetica Neue"/>
              </a:rPr>
              <a:t>User Story Map – Prerequisites</a:t>
            </a:r>
            <a:endParaRPr dirty="0">
              <a:latin typeface="Arial" panose="020B0604020202020204" pitchFamily="34" charset="0"/>
              <a:ea typeface="Helvetica Neue"/>
              <a:cs typeface="Arial" panose="020B0604020202020204" pitchFamily="34" charset="0"/>
              <a:sym typeface="Helvetica Neue"/>
            </a:endParaRPr>
          </a:p>
        </p:txBody>
      </p:sp>
      <p:grpSp>
        <p:nvGrpSpPr>
          <p:cNvPr id="433" name="Google Shape;433;p56"/>
          <p:cNvGrpSpPr/>
          <p:nvPr/>
        </p:nvGrpSpPr>
        <p:grpSpPr>
          <a:xfrm>
            <a:off x="2614007" y="1083744"/>
            <a:ext cx="6073805" cy="3610729"/>
            <a:chOff x="1674084" y="660907"/>
            <a:chExt cx="8739916" cy="5356966"/>
          </a:xfrm>
        </p:grpSpPr>
        <p:sp>
          <p:nvSpPr>
            <p:cNvPr id="434" name="Google Shape;434;p56"/>
            <p:cNvSpPr/>
            <p:nvPr/>
          </p:nvSpPr>
          <p:spPr>
            <a:xfrm>
              <a:off x="3361639" y="272353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35" name="Google Shape;435;p56"/>
            <p:cNvSpPr/>
            <p:nvPr/>
          </p:nvSpPr>
          <p:spPr>
            <a:xfrm>
              <a:off x="4346595" y="272353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36" name="Google Shape;436;p56"/>
            <p:cNvSpPr/>
            <p:nvPr/>
          </p:nvSpPr>
          <p:spPr>
            <a:xfrm>
              <a:off x="5331551" y="272353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37" name="Google Shape;437;p56"/>
            <p:cNvSpPr/>
            <p:nvPr/>
          </p:nvSpPr>
          <p:spPr>
            <a:xfrm>
              <a:off x="6316506" y="272353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38" name="Google Shape;438;p56"/>
            <p:cNvSpPr/>
            <p:nvPr/>
          </p:nvSpPr>
          <p:spPr>
            <a:xfrm>
              <a:off x="7301463" y="272353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39" name="Google Shape;439;p56"/>
            <p:cNvSpPr/>
            <p:nvPr/>
          </p:nvSpPr>
          <p:spPr>
            <a:xfrm>
              <a:off x="8286418" y="272353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40" name="Google Shape;440;p56"/>
            <p:cNvSpPr/>
            <p:nvPr/>
          </p:nvSpPr>
          <p:spPr>
            <a:xfrm>
              <a:off x="9271373" y="272353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41" name="Google Shape;441;p56"/>
            <p:cNvSpPr/>
            <p:nvPr/>
          </p:nvSpPr>
          <p:spPr>
            <a:xfrm>
              <a:off x="3361639" y="197846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442" name="Google Shape;442;p56"/>
            <p:cNvSpPr/>
            <p:nvPr/>
          </p:nvSpPr>
          <p:spPr>
            <a:xfrm>
              <a:off x="5331551" y="197846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443" name="Google Shape;443;p56"/>
            <p:cNvSpPr/>
            <p:nvPr/>
          </p:nvSpPr>
          <p:spPr>
            <a:xfrm>
              <a:off x="8290972" y="197846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444" name="Google Shape;444;p56"/>
            <p:cNvSpPr/>
            <p:nvPr/>
          </p:nvSpPr>
          <p:spPr>
            <a:xfrm>
              <a:off x="3361639" y="37032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45" name="Google Shape;445;p56"/>
            <p:cNvSpPr/>
            <p:nvPr/>
          </p:nvSpPr>
          <p:spPr>
            <a:xfrm>
              <a:off x="4346595" y="37032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46" name="Google Shape;446;p56"/>
            <p:cNvSpPr/>
            <p:nvPr/>
          </p:nvSpPr>
          <p:spPr>
            <a:xfrm>
              <a:off x="5331551" y="37032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47" name="Google Shape;447;p56"/>
            <p:cNvSpPr/>
            <p:nvPr/>
          </p:nvSpPr>
          <p:spPr>
            <a:xfrm>
              <a:off x="8290972" y="370328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48" name="Google Shape;448;p56"/>
            <p:cNvSpPr/>
            <p:nvPr/>
          </p:nvSpPr>
          <p:spPr>
            <a:xfrm>
              <a:off x="9271373" y="370328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49" name="Google Shape;449;p56"/>
            <p:cNvSpPr/>
            <p:nvPr/>
          </p:nvSpPr>
          <p:spPr>
            <a:xfrm>
              <a:off x="4346595" y="4448350"/>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50" name="Google Shape;450;p56"/>
            <p:cNvSpPr/>
            <p:nvPr/>
          </p:nvSpPr>
          <p:spPr>
            <a:xfrm>
              <a:off x="6316506" y="444835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51" name="Google Shape;451;p56"/>
            <p:cNvSpPr/>
            <p:nvPr/>
          </p:nvSpPr>
          <p:spPr>
            <a:xfrm>
              <a:off x="7301463" y="444835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52" name="Google Shape;452;p56"/>
            <p:cNvSpPr/>
            <p:nvPr/>
          </p:nvSpPr>
          <p:spPr>
            <a:xfrm>
              <a:off x="3033395" y="3507257"/>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453" name="Google Shape;453;p56"/>
            <p:cNvSpPr/>
            <p:nvPr/>
          </p:nvSpPr>
          <p:spPr>
            <a:xfrm>
              <a:off x="3033395" y="5235052"/>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454" name="Google Shape;454;p56"/>
            <p:cNvSpPr/>
            <p:nvPr/>
          </p:nvSpPr>
          <p:spPr>
            <a:xfrm>
              <a:off x="3361639" y="54247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55" name="Google Shape;455;p56"/>
            <p:cNvSpPr/>
            <p:nvPr/>
          </p:nvSpPr>
          <p:spPr>
            <a:xfrm>
              <a:off x="4346595" y="54247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56" name="Google Shape;456;p56"/>
            <p:cNvSpPr/>
            <p:nvPr/>
          </p:nvSpPr>
          <p:spPr>
            <a:xfrm>
              <a:off x="5331551" y="542478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57" name="Google Shape;457;p56"/>
            <p:cNvSpPr/>
            <p:nvPr/>
          </p:nvSpPr>
          <p:spPr>
            <a:xfrm>
              <a:off x="7301463" y="542478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grpSp>
          <p:nvGrpSpPr>
            <p:cNvPr id="458" name="Google Shape;458;p56"/>
            <p:cNvGrpSpPr/>
            <p:nvPr/>
          </p:nvGrpSpPr>
          <p:grpSpPr>
            <a:xfrm>
              <a:off x="3473239" y="1117119"/>
              <a:ext cx="605155" cy="690880"/>
              <a:chOff x="3473239" y="1117119"/>
              <a:chExt cx="605155" cy="690880"/>
            </a:xfrm>
          </p:grpSpPr>
          <p:sp>
            <p:nvSpPr>
              <p:cNvPr id="459" name="Google Shape;459;p56"/>
              <p:cNvSpPr/>
              <p:nvPr/>
            </p:nvSpPr>
            <p:spPr>
              <a:xfrm>
                <a:off x="3473239" y="111711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460" name="Google Shape;460;p56"/>
              <p:cNvSpPr/>
              <p:nvPr/>
            </p:nvSpPr>
            <p:spPr>
              <a:xfrm>
                <a:off x="3560754" y="123397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grpSp>
        <p:grpSp>
          <p:nvGrpSpPr>
            <p:cNvPr id="461" name="Google Shape;461;p56"/>
            <p:cNvGrpSpPr/>
            <p:nvPr/>
          </p:nvGrpSpPr>
          <p:grpSpPr>
            <a:xfrm>
              <a:off x="8402572" y="1117119"/>
              <a:ext cx="605155" cy="690880"/>
              <a:chOff x="8402572" y="1117119"/>
              <a:chExt cx="605155" cy="690880"/>
            </a:xfrm>
          </p:grpSpPr>
          <p:sp>
            <p:nvSpPr>
              <p:cNvPr id="462" name="Google Shape;462;p56"/>
              <p:cNvSpPr/>
              <p:nvPr/>
            </p:nvSpPr>
            <p:spPr>
              <a:xfrm>
                <a:off x="8402572" y="111711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463" name="Google Shape;463;p56"/>
              <p:cNvSpPr/>
              <p:nvPr/>
            </p:nvSpPr>
            <p:spPr>
              <a:xfrm>
                <a:off x="8490088" y="123397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grpSp>
        <p:sp>
          <p:nvSpPr>
            <p:cNvPr id="464" name="Google Shape;464;p56"/>
            <p:cNvSpPr/>
            <p:nvPr/>
          </p:nvSpPr>
          <p:spPr>
            <a:xfrm>
              <a:off x="5719329" y="840756"/>
              <a:ext cx="651510" cy="508634"/>
            </a:xfrm>
            <a:custGeom>
              <a:avLst/>
              <a:gdLst/>
              <a:ahLst/>
              <a:cxnLst/>
              <a:rect l="l" t="t" r="r" b="b"/>
              <a:pathLst>
                <a:path w="651510" h="508634" extrusionOk="0">
                  <a:moveTo>
                    <a:pt x="650800" y="0"/>
                  </a:moveTo>
                  <a:lnTo>
                    <a:pt x="638103" y="311"/>
                  </a:lnTo>
                  <a:lnTo>
                    <a:pt x="638415" y="13007"/>
                  </a:lnTo>
                  <a:lnTo>
                    <a:pt x="651111" y="12696"/>
                  </a:lnTo>
                  <a:lnTo>
                    <a:pt x="650800" y="0"/>
                  </a:lnTo>
                  <a:close/>
                </a:path>
                <a:path w="651510" h="508634" extrusionOk="0">
                  <a:moveTo>
                    <a:pt x="599799" y="1991"/>
                  </a:moveTo>
                  <a:lnTo>
                    <a:pt x="587124" y="2797"/>
                  </a:lnTo>
                  <a:lnTo>
                    <a:pt x="587931" y="15472"/>
                  </a:lnTo>
                  <a:lnTo>
                    <a:pt x="600605" y="14665"/>
                  </a:lnTo>
                  <a:lnTo>
                    <a:pt x="599799" y="1991"/>
                  </a:lnTo>
                  <a:close/>
                </a:path>
                <a:path w="651510" h="508634" extrusionOk="0">
                  <a:moveTo>
                    <a:pt x="548764" y="7016"/>
                  </a:moveTo>
                  <a:lnTo>
                    <a:pt x="536191" y="8809"/>
                  </a:lnTo>
                  <a:lnTo>
                    <a:pt x="537985" y="21382"/>
                  </a:lnTo>
                  <a:lnTo>
                    <a:pt x="550558" y="19588"/>
                  </a:lnTo>
                  <a:lnTo>
                    <a:pt x="548764" y="7016"/>
                  </a:lnTo>
                  <a:close/>
                </a:path>
                <a:path w="651510" h="508634" extrusionOk="0">
                  <a:moveTo>
                    <a:pt x="498374" y="15810"/>
                  </a:moveTo>
                  <a:lnTo>
                    <a:pt x="485928" y="18340"/>
                  </a:lnTo>
                  <a:lnTo>
                    <a:pt x="488459" y="30786"/>
                  </a:lnTo>
                  <a:lnTo>
                    <a:pt x="500904" y="28256"/>
                  </a:lnTo>
                  <a:lnTo>
                    <a:pt x="498374" y="15810"/>
                  </a:lnTo>
                  <a:close/>
                </a:path>
                <a:path w="651510" h="508634" extrusionOk="0">
                  <a:moveTo>
                    <a:pt x="448425" y="27362"/>
                  </a:moveTo>
                  <a:lnTo>
                    <a:pt x="436219" y="30871"/>
                  </a:lnTo>
                  <a:lnTo>
                    <a:pt x="439727" y="43077"/>
                  </a:lnTo>
                  <a:lnTo>
                    <a:pt x="451933" y="39568"/>
                  </a:lnTo>
                  <a:lnTo>
                    <a:pt x="448425" y="27362"/>
                  </a:lnTo>
                  <a:close/>
                </a:path>
                <a:path w="651510" h="508634" extrusionOk="0">
                  <a:moveTo>
                    <a:pt x="399334" y="42218"/>
                  </a:moveTo>
                  <a:lnTo>
                    <a:pt x="387451" y="46697"/>
                  </a:lnTo>
                  <a:lnTo>
                    <a:pt x="391932" y="58581"/>
                  </a:lnTo>
                  <a:lnTo>
                    <a:pt x="403815" y="54101"/>
                  </a:lnTo>
                  <a:lnTo>
                    <a:pt x="399334" y="42218"/>
                  </a:lnTo>
                  <a:close/>
                </a:path>
                <a:path w="651510" h="508634" extrusionOk="0">
                  <a:moveTo>
                    <a:pt x="351370" y="60467"/>
                  </a:moveTo>
                  <a:lnTo>
                    <a:pt x="339897" y="65911"/>
                  </a:lnTo>
                  <a:lnTo>
                    <a:pt x="345342" y="77384"/>
                  </a:lnTo>
                  <a:lnTo>
                    <a:pt x="356815" y="71940"/>
                  </a:lnTo>
                  <a:lnTo>
                    <a:pt x="351370" y="60467"/>
                  </a:lnTo>
                  <a:close/>
                </a:path>
                <a:path w="651510" h="508634" extrusionOk="0">
                  <a:moveTo>
                    <a:pt x="305476" y="82245"/>
                  </a:moveTo>
                  <a:lnTo>
                    <a:pt x="301616" y="84076"/>
                  </a:lnTo>
                  <a:lnTo>
                    <a:pt x="293870" y="88596"/>
                  </a:lnTo>
                  <a:lnTo>
                    <a:pt x="300269" y="99565"/>
                  </a:lnTo>
                  <a:lnTo>
                    <a:pt x="307352" y="95434"/>
                  </a:lnTo>
                  <a:lnTo>
                    <a:pt x="307783" y="95182"/>
                  </a:lnTo>
                  <a:lnTo>
                    <a:pt x="310921" y="93718"/>
                  </a:lnTo>
                  <a:lnTo>
                    <a:pt x="305476" y="82245"/>
                  </a:lnTo>
                  <a:close/>
                </a:path>
                <a:path w="651510" h="508634" extrusionOk="0">
                  <a:moveTo>
                    <a:pt x="307554" y="95315"/>
                  </a:moveTo>
                  <a:lnTo>
                    <a:pt x="307305" y="95434"/>
                  </a:lnTo>
                  <a:lnTo>
                    <a:pt x="307554" y="95315"/>
                  </a:lnTo>
                  <a:close/>
                </a:path>
                <a:path w="651510" h="508634" extrusionOk="0">
                  <a:moveTo>
                    <a:pt x="307835" y="95182"/>
                  </a:moveTo>
                  <a:lnTo>
                    <a:pt x="307554" y="95315"/>
                  </a:lnTo>
                  <a:lnTo>
                    <a:pt x="307835" y="95182"/>
                  </a:lnTo>
                  <a:close/>
                </a:path>
                <a:path w="651510" h="508634" extrusionOk="0">
                  <a:moveTo>
                    <a:pt x="260962" y="107796"/>
                  </a:moveTo>
                  <a:lnTo>
                    <a:pt x="253587" y="112099"/>
                  </a:lnTo>
                  <a:lnTo>
                    <a:pt x="249732" y="114830"/>
                  </a:lnTo>
                  <a:lnTo>
                    <a:pt x="257077" y="125192"/>
                  </a:lnTo>
                  <a:lnTo>
                    <a:pt x="260273" y="122927"/>
                  </a:lnTo>
                  <a:lnTo>
                    <a:pt x="260701" y="122623"/>
                  </a:lnTo>
                  <a:lnTo>
                    <a:pt x="267361" y="118766"/>
                  </a:lnTo>
                  <a:lnTo>
                    <a:pt x="260962" y="107796"/>
                  </a:lnTo>
                  <a:close/>
                </a:path>
                <a:path w="651510" h="508634" extrusionOk="0">
                  <a:moveTo>
                    <a:pt x="260473" y="122785"/>
                  </a:moveTo>
                  <a:lnTo>
                    <a:pt x="260230" y="122927"/>
                  </a:lnTo>
                  <a:lnTo>
                    <a:pt x="260473" y="122785"/>
                  </a:lnTo>
                  <a:close/>
                </a:path>
                <a:path w="651510" h="508634" extrusionOk="0">
                  <a:moveTo>
                    <a:pt x="260750" y="122623"/>
                  </a:moveTo>
                  <a:lnTo>
                    <a:pt x="260473" y="122785"/>
                  </a:lnTo>
                  <a:lnTo>
                    <a:pt x="260750" y="122623"/>
                  </a:lnTo>
                  <a:close/>
                </a:path>
                <a:path w="651510" h="508634" extrusionOk="0">
                  <a:moveTo>
                    <a:pt x="218649" y="136862"/>
                  </a:moveTo>
                  <a:lnTo>
                    <a:pt x="209299" y="143490"/>
                  </a:lnTo>
                  <a:lnTo>
                    <a:pt x="207912" y="144680"/>
                  </a:lnTo>
                  <a:lnTo>
                    <a:pt x="216183" y="154318"/>
                  </a:lnTo>
                  <a:lnTo>
                    <a:pt x="216925" y="153681"/>
                  </a:lnTo>
                  <a:lnTo>
                    <a:pt x="217346" y="153319"/>
                  </a:lnTo>
                  <a:lnTo>
                    <a:pt x="225993" y="147224"/>
                  </a:lnTo>
                  <a:lnTo>
                    <a:pt x="218649" y="136862"/>
                  </a:lnTo>
                  <a:close/>
                </a:path>
                <a:path w="651510" h="508634" extrusionOk="0">
                  <a:moveTo>
                    <a:pt x="217346" y="153319"/>
                  </a:moveTo>
                  <a:lnTo>
                    <a:pt x="216882" y="153681"/>
                  </a:lnTo>
                  <a:lnTo>
                    <a:pt x="217124" y="153510"/>
                  </a:lnTo>
                  <a:lnTo>
                    <a:pt x="217346" y="153319"/>
                  </a:lnTo>
                  <a:close/>
                </a:path>
                <a:path w="651510" h="508634" extrusionOk="0">
                  <a:moveTo>
                    <a:pt x="217124" y="153510"/>
                  </a:moveTo>
                  <a:lnTo>
                    <a:pt x="216882" y="153681"/>
                  </a:lnTo>
                  <a:lnTo>
                    <a:pt x="217124" y="153510"/>
                  </a:lnTo>
                  <a:close/>
                </a:path>
                <a:path w="651510" h="508634" extrusionOk="0">
                  <a:moveTo>
                    <a:pt x="217393" y="153319"/>
                  </a:moveTo>
                  <a:lnTo>
                    <a:pt x="217124" y="153510"/>
                  </a:lnTo>
                  <a:lnTo>
                    <a:pt x="217393" y="153319"/>
                  </a:lnTo>
                  <a:close/>
                </a:path>
                <a:path w="651510" h="508634" extrusionOk="0">
                  <a:moveTo>
                    <a:pt x="178997" y="169491"/>
                  </a:moveTo>
                  <a:lnTo>
                    <a:pt x="169359" y="177761"/>
                  </a:lnTo>
                  <a:lnTo>
                    <a:pt x="177629" y="187399"/>
                  </a:lnTo>
                  <a:lnTo>
                    <a:pt x="187269" y="179129"/>
                  </a:lnTo>
                  <a:lnTo>
                    <a:pt x="178997" y="169491"/>
                  </a:lnTo>
                  <a:close/>
                </a:path>
                <a:path w="651510" h="508634" extrusionOk="0">
                  <a:moveTo>
                    <a:pt x="142203" y="205567"/>
                  </a:moveTo>
                  <a:lnTo>
                    <a:pt x="133649" y="214955"/>
                  </a:lnTo>
                  <a:lnTo>
                    <a:pt x="143036" y="223508"/>
                  </a:lnTo>
                  <a:lnTo>
                    <a:pt x="151591" y="214120"/>
                  </a:lnTo>
                  <a:lnTo>
                    <a:pt x="142203" y="205567"/>
                  </a:lnTo>
                  <a:close/>
                </a:path>
                <a:path w="651510" h="508634" extrusionOk="0">
                  <a:moveTo>
                    <a:pt x="109554" y="245304"/>
                  </a:moveTo>
                  <a:lnTo>
                    <a:pt x="102040" y="255516"/>
                  </a:lnTo>
                  <a:lnTo>
                    <a:pt x="101838" y="255824"/>
                  </a:lnTo>
                  <a:lnTo>
                    <a:pt x="112460" y="262777"/>
                  </a:lnTo>
                  <a:lnTo>
                    <a:pt x="119783" y="252830"/>
                  </a:lnTo>
                  <a:lnTo>
                    <a:pt x="109554" y="245304"/>
                  </a:lnTo>
                  <a:close/>
                </a:path>
                <a:path w="651510" h="508634" extrusionOk="0">
                  <a:moveTo>
                    <a:pt x="81432" y="288405"/>
                  </a:moveTo>
                  <a:lnTo>
                    <a:pt x="75883" y="298019"/>
                  </a:lnTo>
                  <a:lnTo>
                    <a:pt x="75001" y="299777"/>
                  </a:lnTo>
                  <a:lnTo>
                    <a:pt x="86348" y="305478"/>
                  </a:lnTo>
                  <a:lnTo>
                    <a:pt x="86986" y="304209"/>
                  </a:lnTo>
                  <a:lnTo>
                    <a:pt x="92431" y="294753"/>
                  </a:lnTo>
                  <a:lnTo>
                    <a:pt x="81432" y="288405"/>
                  </a:lnTo>
                  <a:close/>
                </a:path>
                <a:path w="651510" h="508634" extrusionOk="0">
                  <a:moveTo>
                    <a:pt x="58572" y="334552"/>
                  </a:moveTo>
                  <a:lnTo>
                    <a:pt x="55067" y="342703"/>
                  </a:lnTo>
                  <a:lnTo>
                    <a:pt x="53639" y="346668"/>
                  </a:lnTo>
                  <a:lnTo>
                    <a:pt x="65590" y="350967"/>
                  </a:lnTo>
                  <a:lnTo>
                    <a:pt x="66822" y="347544"/>
                  </a:lnTo>
                  <a:lnTo>
                    <a:pt x="70238" y="339571"/>
                  </a:lnTo>
                  <a:lnTo>
                    <a:pt x="58572" y="334552"/>
                  </a:lnTo>
                  <a:close/>
                </a:path>
                <a:path w="651510" h="508634" extrusionOk="0">
                  <a:moveTo>
                    <a:pt x="41685" y="383240"/>
                  </a:moveTo>
                  <a:lnTo>
                    <a:pt x="39917" y="389317"/>
                  </a:lnTo>
                  <a:lnTo>
                    <a:pt x="38441" y="395928"/>
                  </a:lnTo>
                  <a:lnTo>
                    <a:pt x="50836" y="398696"/>
                  </a:lnTo>
                  <a:lnTo>
                    <a:pt x="52181" y="392671"/>
                  </a:lnTo>
                  <a:lnTo>
                    <a:pt x="53879" y="386788"/>
                  </a:lnTo>
                  <a:lnTo>
                    <a:pt x="41685" y="383240"/>
                  </a:lnTo>
                  <a:close/>
                </a:path>
                <a:path w="651510" h="508634" extrusionOk="0">
                  <a:moveTo>
                    <a:pt x="52224" y="392474"/>
                  </a:moveTo>
                  <a:lnTo>
                    <a:pt x="52167" y="392671"/>
                  </a:lnTo>
                  <a:lnTo>
                    <a:pt x="52224" y="392474"/>
                  </a:lnTo>
                  <a:close/>
                </a:path>
                <a:path w="651510" h="508634" extrusionOk="0">
                  <a:moveTo>
                    <a:pt x="0" y="430477"/>
                  </a:moveTo>
                  <a:lnTo>
                    <a:pt x="35053" y="508126"/>
                  </a:lnTo>
                  <a:lnTo>
                    <a:pt x="69610" y="445354"/>
                  </a:lnTo>
                  <a:lnTo>
                    <a:pt x="43881" y="445354"/>
                  </a:lnTo>
                  <a:lnTo>
                    <a:pt x="31253" y="443998"/>
                  </a:lnTo>
                  <a:lnTo>
                    <a:pt x="32306" y="434195"/>
                  </a:lnTo>
                  <a:lnTo>
                    <a:pt x="75754" y="434195"/>
                  </a:lnTo>
                  <a:lnTo>
                    <a:pt x="76140" y="433494"/>
                  </a:lnTo>
                  <a:lnTo>
                    <a:pt x="0" y="430477"/>
                  </a:lnTo>
                  <a:close/>
                </a:path>
                <a:path w="651510" h="508634" extrusionOk="0">
                  <a:moveTo>
                    <a:pt x="32306" y="434195"/>
                  </a:moveTo>
                  <a:lnTo>
                    <a:pt x="31253" y="443998"/>
                  </a:lnTo>
                  <a:lnTo>
                    <a:pt x="43881" y="445354"/>
                  </a:lnTo>
                  <a:lnTo>
                    <a:pt x="44933" y="435551"/>
                  </a:lnTo>
                  <a:lnTo>
                    <a:pt x="32306" y="434195"/>
                  </a:lnTo>
                  <a:close/>
                </a:path>
                <a:path w="651510" h="508634" extrusionOk="0">
                  <a:moveTo>
                    <a:pt x="75754" y="434195"/>
                  </a:moveTo>
                  <a:lnTo>
                    <a:pt x="32306" y="434195"/>
                  </a:lnTo>
                  <a:lnTo>
                    <a:pt x="44933" y="435551"/>
                  </a:lnTo>
                  <a:lnTo>
                    <a:pt x="43881" y="445354"/>
                  </a:lnTo>
                  <a:lnTo>
                    <a:pt x="69610" y="445354"/>
                  </a:lnTo>
                  <a:lnTo>
                    <a:pt x="75754" y="434195"/>
                  </a:lnTo>
                  <a:close/>
                </a:path>
              </a:pathLst>
            </a:custGeom>
            <a:solidFill>
              <a:srgbClr val="454646"/>
            </a:solidFill>
            <a:ln>
              <a:noFill/>
            </a:ln>
          </p:spPr>
          <p:txBody>
            <a:bodyPr spcFirstLastPara="1" wrap="square" lIns="0" tIns="0" rIns="0" bIns="0" anchor="t" anchorCtr="0">
              <a:noAutofit/>
            </a:bodyPr>
            <a:lstStyle/>
            <a:p>
              <a:endParaRPr sz="1050" dirty="0"/>
            </a:p>
          </p:txBody>
        </p:sp>
        <p:sp>
          <p:nvSpPr>
            <p:cNvPr id="465" name="Google Shape;465;p56"/>
            <p:cNvSpPr txBox="1"/>
            <p:nvPr/>
          </p:nvSpPr>
          <p:spPr>
            <a:xfrm>
              <a:off x="6510509" y="660907"/>
              <a:ext cx="3635763" cy="288948"/>
            </a:xfrm>
            <a:prstGeom prst="rect">
              <a:avLst/>
            </a:prstGeom>
            <a:noFill/>
            <a:ln>
              <a:noFill/>
            </a:ln>
          </p:spPr>
          <p:txBody>
            <a:bodyPr spcFirstLastPara="1" wrap="square" lIns="0" tIns="9994" rIns="0" bIns="0" anchor="t" anchorCtr="0">
              <a:spAutoFit/>
            </a:bodyPr>
            <a:lstStyle/>
            <a:p>
              <a:pPr marL="9525"/>
              <a:r>
                <a:rPr lang="en-IN" sz="1200" dirty="0">
                  <a:solidFill>
                    <a:srgbClr val="454646"/>
                  </a:solidFill>
                  <a:latin typeface="Tahoma"/>
                  <a:ea typeface="Tahoma"/>
                  <a:cs typeface="Tahoma"/>
                  <a:sym typeface="Tahoma"/>
                </a:rPr>
                <a:t>wall, whiteboard or flip chart paper</a:t>
              </a:r>
              <a:endParaRPr sz="1200" dirty="0">
                <a:latin typeface="Tahoma"/>
                <a:ea typeface="Tahoma"/>
                <a:cs typeface="Tahoma"/>
                <a:sym typeface="Tahoma"/>
              </a:endParaRPr>
            </a:p>
          </p:txBody>
        </p:sp>
        <p:sp>
          <p:nvSpPr>
            <p:cNvPr id="466" name="Google Shape;466;p56"/>
            <p:cNvSpPr/>
            <p:nvPr/>
          </p:nvSpPr>
          <p:spPr>
            <a:xfrm>
              <a:off x="2206000" y="3982505"/>
              <a:ext cx="622935" cy="536575"/>
            </a:xfrm>
            <a:custGeom>
              <a:avLst/>
              <a:gdLst/>
              <a:ahLst/>
              <a:cxnLst/>
              <a:rect l="l" t="t" r="r" b="b"/>
              <a:pathLst>
                <a:path w="622935" h="536575" extrusionOk="0">
                  <a:moveTo>
                    <a:pt x="546538" y="38240"/>
                  </a:moveTo>
                  <a:lnTo>
                    <a:pt x="548572" y="76089"/>
                  </a:lnTo>
                  <a:lnTo>
                    <a:pt x="603664" y="44740"/>
                  </a:lnTo>
                  <a:lnTo>
                    <a:pt x="547076" y="44740"/>
                  </a:lnTo>
                  <a:lnTo>
                    <a:pt x="546538" y="38240"/>
                  </a:lnTo>
                  <a:close/>
                </a:path>
                <a:path w="622935" h="536575" extrusionOk="0">
                  <a:moveTo>
                    <a:pt x="558684" y="31034"/>
                  </a:moveTo>
                  <a:lnTo>
                    <a:pt x="546206" y="32069"/>
                  </a:lnTo>
                  <a:lnTo>
                    <a:pt x="546538" y="38240"/>
                  </a:lnTo>
                  <a:lnTo>
                    <a:pt x="547076" y="44740"/>
                  </a:lnTo>
                  <a:lnTo>
                    <a:pt x="559733" y="43691"/>
                  </a:lnTo>
                  <a:lnTo>
                    <a:pt x="558684" y="31034"/>
                  </a:lnTo>
                  <a:close/>
                </a:path>
                <a:path w="622935" h="536575" extrusionOk="0">
                  <a:moveTo>
                    <a:pt x="615896" y="31034"/>
                  </a:moveTo>
                  <a:lnTo>
                    <a:pt x="558684" y="31034"/>
                  </a:lnTo>
                  <a:lnTo>
                    <a:pt x="559733" y="43691"/>
                  </a:lnTo>
                  <a:lnTo>
                    <a:pt x="547076" y="44740"/>
                  </a:lnTo>
                  <a:lnTo>
                    <a:pt x="603664" y="44740"/>
                  </a:lnTo>
                  <a:lnTo>
                    <a:pt x="622617" y="33955"/>
                  </a:lnTo>
                  <a:lnTo>
                    <a:pt x="615896" y="31034"/>
                  </a:lnTo>
                  <a:close/>
                </a:path>
                <a:path w="622935" h="536575" extrusionOk="0">
                  <a:moveTo>
                    <a:pt x="546206" y="32069"/>
                  </a:moveTo>
                  <a:lnTo>
                    <a:pt x="546028" y="32084"/>
                  </a:lnTo>
                  <a:lnTo>
                    <a:pt x="546538" y="38240"/>
                  </a:lnTo>
                  <a:lnTo>
                    <a:pt x="546206" y="32069"/>
                  </a:lnTo>
                  <a:close/>
                </a:path>
                <a:path w="622935" h="536575" extrusionOk="0">
                  <a:moveTo>
                    <a:pt x="544483" y="0"/>
                  </a:moveTo>
                  <a:lnTo>
                    <a:pt x="546206" y="32069"/>
                  </a:lnTo>
                  <a:lnTo>
                    <a:pt x="558684" y="31034"/>
                  </a:lnTo>
                  <a:lnTo>
                    <a:pt x="615896" y="31034"/>
                  </a:lnTo>
                  <a:lnTo>
                    <a:pt x="544483" y="0"/>
                  </a:lnTo>
                  <a:close/>
                </a:path>
                <a:path w="622935" h="536575" extrusionOk="0">
                  <a:moveTo>
                    <a:pt x="507815" y="36422"/>
                  </a:moveTo>
                  <a:lnTo>
                    <a:pt x="496515" y="38035"/>
                  </a:lnTo>
                  <a:lnTo>
                    <a:pt x="494889" y="38365"/>
                  </a:lnTo>
                  <a:lnTo>
                    <a:pt x="497419" y="50811"/>
                  </a:lnTo>
                  <a:lnTo>
                    <a:pt x="498550" y="50581"/>
                  </a:lnTo>
                  <a:lnTo>
                    <a:pt x="509609" y="48995"/>
                  </a:lnTo>
                  <a:lnTo>
                    <a:pt x="507815" y="36422"/>
                  </a:lnTo>
                  <a:close/>
                </a:path>
                <a:path w="622935" h="536575" extrusionOk="0">
                  <a:moveTo>
                    <a:pt x="457553" y="45956"/>
                  </a:moveTo>
                  <a:lnTo>
                    <a:pt x="445108" y="48486"/>
                  </a:lnTo>
                  <a:lnTo>
                    <a:pt x="447638" y="60930"/>
                  </a:lnTo>
                  <a:lnTo>
                    <a:pt x="460082" y="58400"/>
                  </a:lnTo>
                  <a:lnTo>
                    <a:pt x="457553" y="45956"/>
                  </a:lnTo>
                  <a:close/>
                </a:path>
                <a:path w="622935" h="536575" extrusionOk="0">
                  <a:moveTo>
                    <a:pt x="407843" y="58489"/>
                  </a:moveTo>
                  <a:lnTo>
                    <a:pt x="395638" y="61997"/>
                  </a:lnTo>
                  <a:lnTo>
                    <a:pt x="399147" y="74203"/>
                  </a:lnTo>
                  <a:lnTo>
                    <a:pt x="411353" y="70694"/>
                  </a:lnTo>
                  <a:lnTo>
                    <a:pt x="407843" y="58489"/>
                  </a:lnTo>
                  <a:close/>
                </a:path>
                <a:path w="622935" h="536575" extrusionOk="0">
                  <a:moveTo>
                    <a:pt x="359077" y="74319"/>
                  </a:moveTo>
                  <a:lnTo>
                    <a:pt x="347193" y="78799"/>
                  </a:lnTo>
                  <a:lnTo>
                    <a:pt x="351674" y="90683"/>
                  </a:lnTo>
                  <a:lnTo>
                    <a:pt x="363557" y="86202"/>
                  </a:lnTo>
                  <a:lnTo>
                    <a:pt x="359077" y="74319"/>
                  </a:lnTo>
                  <a:close/>
                </a:path>
                <a:path w="622935" h="536575" extrusionOk="0">
                  <a:moveTo>
                    <a:pt x="311524" y="93535"/>
                  </a:moveTo>
                  <a:lnTo>
                    <a:pt x="300050" y="98979"/>
                  </a:lnTo>
                  <a:lnTo>
                    <a:pt x="305495" y="110453"/>
                  </a:lnTo>
                  <a:lnTo>
                    <a:pt x="316969" y="105008"/>
                  </a:lnTo>
                  <a:lnTo>
                    <a:pt x="311524" y="93535"/>
                  </a:lnTo>
                  <a:close/>
                </a:path>
                <a:path w="622935" h="536575" extrusionOk="0">
                  <a:moveTo>
                    <a:pt x="265498" y="116222"/>
                  </a:moveTo>
                  <a:lnTo>
                    <a:pt x="254529" y="122623"/>
                  </a:lnTo>
                  <a:lnTo>
                    <a:pt x="260929" y="133592"/>
                  </a:lnTo>
                  <a:lnTo>
                    <a:pt x="271899" y="127193"/>
                  </a:lnTo>
                  <a:lnTo>
                    <a:pt x="265498" y="116222"/>
                  </a:lnTo>
                  <a:close/>
                </a:path>
                <a:path w="622935" h="536575" extrusionOk="0">
                  <a:moveTo>
                    <a:pt x="221363" y="142460"/>
                  </a:moveTo>
                  <a:lnTo>
                    <a:pt x="211002" y="149805"/>
                  </a:lnTo>
                  <a:lnTo>
                    <a:pt x="218346" y="160166"/>
                  </a:lnTo>
                  <a:lnTo>
                    <a:pt x="228707" y="152821"/>
                  </a:lnTo>
                  <a:lnTo>
                    <a:pt x="221363" y="142460"/>
                  </a:lnTo>
                  <a:close/>
                </a:path>
                <a:path w="622935" h="536575" extrusionOk="0">
                  <a:moveTo>
                    <a:pt x="179544" y="172313"/>
                  </a:moveTo>
                  <a:lnTo>
                    <a:pt x="169906" y="180583"/>
                  </a:lnTo>
                  <a:lnTo>
                    <a:pt x="178177" y="190221"/>
                  </a:lnTo>
                  <a:lnTo>
                    <a:pt x="187815" y="181951"/>
                  </a:lnTo>
                  <a:lnTo>
                    <a:pt x="179544" y="172313"/>
                  </a:lnTo>
                  <a:close/>
                </a:path>
                <a:path w="622935" h="536575" extrusionOk="0">
                  <a:moveTo>
                    <a:pt x="140991" y="205395"/>
                  </a:moveTo>
                  <a:lnTo>
                    <a:pt x="140788" y="205569"/>
                  </a:lnTo>
                  <a:lnTo>
                    <a:pt x="131639" y="214652"/>
                  </a:lnTo>
                  <a:lnTo>
                    <a:pt x="140586" y="223664"/>
                  </a:lnTo>
                  <a:lnTo>
                    <a:pt x="149258" y="215056"/>
                  </a:lnTo>
                  <a:lnTo>
                    <a:pt x="140991" y="205395"/>
                  </a:lnTo>
                  <a:close/>
                </a:path>
                <a:path w="622935" h="536575" extrusionOk="0">
                  <a:moveTo>
                    <a:pt x="149572" y="214744"/>
                  </a:moveTo>
                  <a:lnTo>
                    <a:pt x="149235" y="215056"/>
                  </a:lnTo>
                  <a:lnTo>
                    <a:pt x="149572" y="214744"/>
                  </a:lnTo>
                  <a:close/>
                </a:path>
                <a:path w="622935" h="536575" extrusionOk="0">
                  <a:moveTo>
                    <a:pt x="105285" y="242591"/>
                  </a:moveTo>
                  <a:lnTo>
                    <a:pt x="104874" y="243042"/>
                  </a:lnTo>
                  <a:lnTo>
                    <a:pt x="96994" y="252639"/>
                  </a:lnTo>
                  <a:lnTo>
                    <a:pt x="106810" y="260697"/>
                  </a:lnTo>
                  <a:lnTo>
                    <a:pt x="114382" y="251475"/>
                  </a:lnTo>
                  <a:lnTo>
                    <a:pt x="114672" y="251145"/>
                  </a:lnTo>
                  <a:lnTo>
                    <a:pt x="105285" y="242591"/>
                  </a:lnTo>
                  <a:close/>
                </a:path>
                <a:path w="622935" h="536575" extrusionOk="0">
                  <a:moveTo>
                    <a:pt x="73479" y="283465"/>
                  </a:moveTo>
                  <a:lnTo>
                    <a:pt x="66523" y="294090"/>
                  </a:lnTo>
                  <a:lnTo>
                    <a:pt x="77148" y="301047"/>
                  </a:lnTo>
                  <a:lnTo>
                    <a:pt x="84105" y="290421"/>
                  </a:lnTo>
                  <a:lnTo>
                    <a:pt x="73479" y="283465"/>
                  </a:lnTo>
                  <a:close/>
                </a:path>
                <a:path w="622935" h="536575" extrusionOk="0">
                  <a:moveTo>
                    <a:pt x="46645" y="327418"/>
                  </a:moveTo>
                  <a:lnTo>
                    <a:pt x="40943" y="338767"/>
                  </a:lnTo>
                  <a:lnTo>
                    <a:pt x="52292" y="344469"/>
                  </a:lnTo>
                  <a:lnTo>
                    <a:pt x="57994" y="333120"/>
                  </a:lnTo>
                  <a:lnTo>
                    <a:pt x="46645" y="327418"/>
                  </a:lnTo>
                  <a:close/>
                </a:path>
                <a:path w="622935" h="536575" extrusionOk="0">
                  <a:moveTo>
                    <a:pt x="25289" y="374312"/>
                  </a:moveTo>
                  <a:lnTo>
                    <a:pt x="20990" y="386262"/>
                  </a:lnTo>
                  <a:lnTo>
                    <a:pt x="32939" y="390561"/>
                  </a:lnTo>
                  <a:lnTo>
                    <a:pt x="37240" y="378611"/>
                  </a:lnTo>
                  <a:lnTo>
                    <a:pt x="25289" y="374312"/>
                  </a:lnTo>
                  <a:close/>
                </a:path>
                <a:path w="622935" h="536575" extrusionOk="0">
                  <a:moveTo>
                    <a:pt x="10095" y="423575"/>
                  </a:moveTo>
                  <a:lnTo>
                    <a:pt x="7327" y="435969"/>
                  </a:lnTo>
                  <a:lnTo>
                    <a:pt x="19723" y="438736"/>
                  </a:lnTo>
                  <a:lnTo>
                    <a:pt x="22490" y="426341"/>
                  </a:lnTo>
                  <a:lnTo>
                    <a:pt x="10095" y="423575"/>
                  </a:lnTo>
                  <a:close/>
                </a:path>
                <a:path w="622935" h="536575" extrusionOk="0">
                  <a:moveTo>
                    <a:pt x="1593" y="474438"/>
                  </a:moveTo>
                  <a:lnTo>
                    <a:pt x="452" y="487088"/>
                  </a:lnTo>
                  <a:lnTo>
                    <a:pt x="13101" y="488228"/>
                  </a:lnTo>
                  <a:lnTo>
                    <a:pt x="14243" y="475580"/>
                  </a:lnTo>
                  <a:lnTo>
                    <a:pt x="1593" y="474438"/>
                  </a:lnTo>
                  <a:close/>
                </a:path>
                <a:path w="622935" h="536575" extrusionOk="0">
                  <a:moveTo>
                    <a:pt x="12692" y="525498"/>
                  </a:moveTo>
                  <a:lnTo>
                    <a:pt x="0" y="525967"/>
                  </a:lnTo>
                  <a:lnTo>
                    <a:pt x="369" y="535967"/>
                  </a:lnTo>
                  <a:lnTo>
                    <a:pt x="13061" y="535499"/>
                  </a:lnTo>
                  <a:lnTo>
                    <a:pt x="12692" y="525498"/>
                  </a:lnTo>
                  <a:close/>
                </a:path>
              </a:pathLst>
            </a:custGeom>
            <a:solidFill>
              <a:srgbClr val="454646"/>
            </a:solidFill>
            <a:ln>
              <a:noFill/>
            </a:ln>
          </p:spPr>
          <p:txBody>
            <a:bodyPr spcFirstLastPara="1" wrap="square" lIns="0" tIns="0" rIns="0" bIns="0" anchor="t" anchorCtr="0">
              <a:noAutofit/>
            </a:bodyPr>
            <a:lstStyle/>
            <a:p>
              <a:endParaRPr sz="1050" dirty="0"/>
            </a:p>
          </p:txBody>
        </p:sp>
        <p:sp>
          <p:nvSpPr>
            <p:cNvPr id="467" name="Google Shape;467;p56"/>
            <p:cNvSpPr txBox="1"/>
            <p:nvPr/>
          </p:nvSpPr>
          <p:spPr>
            <a:xfrm>
              <a:off x="1674084" y="4586732"/>
              <a:ext cx="1075800" cy="562921"/>
            </a:xfrm>
            <a:prstGeom prst="rect">
              <a:avLst/>
            </a:prstGeom>
            <a:noFill/>
            <a:ln>
              <a:noFill/>
            </a:ln>
          </p:spPr>
          <p:txBody>
            <a:bodyPr spcFirstLastPara="1" wrap="square" lIns="0" tIns="9994" rIns="0" bIns="0" anchor="t" anchorCtr="0">
              <a:spAutoFit/>
            </a:bodyPr>
            <a:lstStyle/>
            <a:p>
              <a:pPr marL="9525"/>
              <a:r>
                <a:rPr lang="en-IN" sz="1200" dirty="0">
                  <a:solidFill>
                    <a:srgbClr val="454646"/>
                  </a:solidFill>
                  <a:latin typeface="Tahoma"/>
                  <a:ea typeface="Tahoma"/>
                  <a:cs typeface="Tahoma"/>
                  <a:sym typeface="Tahoma"/>
                </a:rPr>
                <a:t>sticky notes</a:t>
              </a:r>
              <a:endParaRPr sz="1200" dirty="0">
                <a:latin typeface="Tahoma"/>
                <a:ea typeface="Tahoma"/>
                <a:cs typeface="Tahoma"/>
                <a:sym typeface="Tahoma"/>
              </a:endParaRPr>
            </a:p>
          </p:txBody>
        </p:sp>
        <p:cxnSp>
          <p:nvCxnSpPr>
            <p:cNvPr id="468" name="Google Shape;468;p56"/>
            <p:cNvCxnSpPr/>
            <p:nvPr/>
          </p:nvCxnSpPr>
          <p:spPr>
            <a:xfrm>
              <a:off x="4420982" y="1095073"/>
              <a:ext cx="3477217" cy="0"/>
            </a:xfrm>
            <a:prstGeom prst="straightConnector1">
              <a:avLst/>
            </a:prstGeom>
            <a:noFill/>
            <a:ln w="38100" cap="flat" cmpd="sng">
              <a:solidFill>
                <a:schemeClr val="dk1"/>
              </a:solidFill>
              <a:prstDash val="solid"/>
              <a:round/>
              <a:headEnd type="none" w="sm" len="sm"/>
              <a:tailEnd type="stealth" w="med" len="med"/>
            </a:ln>
            <a:effectLst>
              <a:outerShdw blurRad="40000" dist="23000" dir="5400000" rotWithShape="0">
                <a:srgbClr val="000000">
                  <a:alpha val="34901"/>
                </a:srgbClr>
              </a:outerShdw>
            </a:effectLst>
          </p:spPr>
        </p:cxnSp>
        <p:sp>
          <p:nvSpPr>
            <p:cNvPr id="469" name="Google Shape;469;p56"/>
            <p:cNvSpPr txBox="1"/>
            <p:nvPr/>
          </p:nvSpPr>
          <p:spPr>
            <a:xfrm>
              <a:off x="4346596" y="725741"/>
              <a:ext cx="1555800" cy="342424"/>
            </a:xfrm>
            <a:prstGeom prst="rect">
              <a:avLst/>
            </a:prstGeom>
            <a:noFill/>
            <a:ln>
              <a:noFill/>
            </a:ln>
          </p:spPr>
          <p:txBody>
            <a:bodyPr spcFirstLastPara="1" wrap="square" lIns="68569" tIns="34275" rIns="68569" bIns="34275" anchor="t" anchorCtr="0">
              <a:spAutoFit/>
            </a:bodyPr>
            <a:lstStyle/>
            <a:p>
              <a:r>
                <a:rPr lang="en-IN" sz="1050" dirty="0"/>
                <a:t>Time</a:t>
              </a:r>
              <a:endParaRPr sz="1050" dirty="0"/>
            </a:p>
          </p:txBody>
        </p:sp>
        <p:cxnSp>
          <p:nvCxnSpPr>
            <p:cNvPr id="470" name="Google Shape;470;p56"/>
            <p:cNvCxnSpPr/>
            <p:nvPr/>
          </p:nvCxnSpPr>
          <p:spPr>
            <a:xfrm>
              <a:off x="2828935" y="1304520"/>
              <a:ext cx="0" cy="2499992"/>
            </a:xfrm>
            <a:prstGeom prst="straightConnector1">
              <a:avLst/>
            </a:prstGeom>
            <a:noFill/>
            <a:ln w="38100" cap="flat" cmpd="sng">
              <a:solidFill>
                <a:schemeClr val="dk1"/>
              </a:solidFill>
              <a:prstDash val="solid"/>
              <a:round/>
              <a:headEnd type="none" w="sm" len="sm"/>
              <a:tailEnd type="stealth" w="med" len="med"/>
            </a:ln>
            <a:effectLst>
              <a:outerShdw blurRad="40000" dist="23000" dir="5400000" rotWithShape="0">
                <a:srgbClr val="000000">
                  <a:alpha val="34901"/>
                </a:srgbClr>
              </a:outerShdw>
            </a:effectLst>
          </p:spPr>
        </p:cxnSp>
        <p:sp>
          <p:nvSpPr>
            <p:cNvPr id="471" name="Google Shape;471;p56"/>
            <p:cNvSpPr txBox="1"/>
            <p:nvPr/>
          </p:nvSpPr>
          <p:spPr>
            <a:xfrm rot="16200000">
              <a:off x="2020226" y="2361265"/>
              <a:ext cx="1097719" cy="332113"/>
            </a:xfrm>
            <a:prstGeom prst="rect">
              <a:avLst/>
            </a:prstGeom>
            <a:noFill/>
            <a:ln>
              <a:noFill/>
            </a:ln>
          </p:spPr>
          <p:txBody>
            <a:bodyPr spcFirstLastPara="1" wrap="square" lIns="68569" tIns="34275" rIns="68569" bIns="34275" anchor="t" anchorCtr="0">
              <a:spAutoFit/>
            </a:bodyPr>
            <a:lstStyle/>
            <a:p>
              <a:r>
                <a:rPr lang="en-IN" sz="1050" dirty="0"/>
                <a:t>necessity</a:t>
              </a:r>
              <a:endParaRPr sz="1050" dirty="0"/>
            </a:p>
          </p:txBody>
        </p:sp>
      </p:grpSp>
      <p:sp>
        <p:nvSpPr>
          <p:cNvPr id="472" name="Google Shape;472;p56"/>
          <p:cNvSpPr txBox="1"/>
          <p:nvPr/>
        </p:nvSpPr>
        <p:spPr>
          <a:xfrm>
            <a:off x="190322" y="1446619"/>
            <a:ext cx="2532104" cy="2989250"/>
          </a:xfrm>
          <a:prstGeom prst="rect">
            <a:avLst/>
          </a:prstGeom>
          <a:noFill/>
          <a:ln>
            <a:noFill/>
          </a:ln>
        </p:spPr>
        <p:txBody>
          <a:bodyPr spcFirstLastPara="1" wrap="square" lIns="68569" tIns="34275" rIns="68569" bIns="34275" anchor="t" anchorCtr="0">
            <a:spAutoFit/>
          </a:bodyPr>
          <a:lstStyle/>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Customer/Stakeholders</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Product Owner</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SMEs</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Architects</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Agile Team</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Scrum Master</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Big Wall, whiteboard, flip chart papers</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Sticky Notes</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Sharpies</a:t>
            </a:r>
            <a:endParaRPr sz="1500" dirty="0">
              <a:latin typeface="Arial" panose="020B0604020202020204" pitchFamily="34" charset="0"/>
              <a:ea typeface="Proxima Nova"/>
              <a:cs typeface="Arial" panose="020B0604020202020204" pitchFamily="34" charset="0"/>
              <a:sym typeface="Proxima Nova"/>
            </a:endParaRPr>
          </a:p>
          <a:p>
            <a:pPr marL="214313" indent="-233363">
              <a:lnSpc>
                <a:spcPct val="115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Time &amp; Patience</a:t>
            </a:r>
            <a:endParaRPr sz="1500" dirty="0">
              <a:latin typeface="Arial" panose="020B0604020202020204" pitchFamily="34" charset="0"/>
              <a:ea typeface="Proxima Nova"/>
              <a:cs typeface="Arial" panose="020B0604020202020204" pitchFamily="34" charset="0"/>
              <a:sym typeface="Proxima Nova"/>
            </a:endParaRPr>
          </a:p>
        </p:txBody>
      </p:sp>
      <p:sp>
        <p:nvSpPr>
          <p:cNvPr id="473" name="Google Shape;473;p56"/>
          <p:cNvSpPr txBox="1">
            <a:spLocks noGrp="1"/>
          </p:cNvSpPr>
          <p:nvPr>
            <p:ph type="sldNum" idx="12"/>
          </p:nvPr>
        </p:nvSpPr>
        <p:spPr>
          <a:xfrm>
            <a:off x="8556784" y="4749851"/>
            <a:ext cx="548775" cy="393525"/>
          </a:xfrm>
          <a:prstGeom prst="rect">
            <a:avLst/>
          </a:prstGeom>
        </p:spPr>
        <p:txBody>
          <a:bodyPr spcFirstLastPara="1" wrap="square" lIns="91425" tIns="91425" rIns="91425" bIns="91425" anchor="t" anchorCtr="0">
            <a:noAutofit/>
          </a:bodyPr>
          <a:lstStyle/>
          <a:p>
            <a:pPr>
              <a:buSzPts val="1700"/>
            </a:pPr>
            <a:fld id="{00000000-1234-1234-1234-123412341234}" type="slidenum">
              <a:rPr lang="en-IN"/>
              <a:pPr>
                <a:buSzPts val="1700"/>
              </a:pPr>
              <a:t>24</a:t>
            </a:fld>
            <a:endParaRPr dirty="0"/>
          </a:p>
        </p:txBody>
      </p:sp>
      <p:sp>
        <p:nvSpPr>
          <p:cNvPr id="2" name="TextBox 1">
            <a:extLst>
              <a:ext uri="{FF2B5EF4-FFF2-40B4-BE49-F238E27FC236}">
                <a16:creationId xmlns:a16="http://schemas.microsoft.com/office/drawing/2014/main" id="{92A6A24C-EBDC-511B-7E30-D4ED892A93A5}"/>
              </a:ext>
            </a:extLst>
          </p:cNvPr>
          <p:cNvSpPr txBox="1"/>
          <p:nvPr/>
        </p:nvSpPr>
        <p:spPr>
          <a:xfrm>
            <a:off x="110768" y="4328922"/>
            <a:ext cx="2240381" cy="553998"/>
          </a:xfrm>
          <a:prstGeom prst="rect">
            <a:avLst/>
          </a:prstGeom>
          <a:noFill/>
        </p:spPr>
        <p:txBody>
          <a:bodyPr wrap="square" rtlCol="0">
            <a:spAutoFit/>
          </a:bodyPr>
          <a:lstStyle/>
          <a:p>
            <a:pPr marL="285750" indent="-228600">
              <a:buSzPct val="165000"/>
              <a:buFont typeface="Arial" panose="020B0604020202020204" pitchFamily="34" charset="0"/>
              <a:buChar char="•"/>
            </a:pPr>
            <a:r>
              <a:rPr lang="en-US" sz="1500" dirty="0">
                <a:solidFill>
                  <a:srgbClr val="FF0000"/>
                </a:solidFill>
              </a:rPr>
              <a:t>Security Resources</a:t>
            </a:r>
          </a:p>
          <a:p>
            <a:pPr marL="285750" indent="-228600">
              <a:buSzPct val="165000"/>
              <a:buFont typeface="Arial" panose="020B0604020202020204" pitchFamily="34" charset="0"/>
              <a:buChar char="•"/>
            </a:pPr>
            <a:r>
              <a:rPr lang="en-US" sz="1500" dirty="0">
                <a:solidFill>
                  <a:srgbClr val="FF0000"/>
                </a:solidFill>
              </a:rPr>
              <a:t>Threat Mode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478" name="Google Shape;478;p57"/>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3200"/>
            </a:pPr>
            <a:r>
              <a:rPr lang="en-IN" dirty="0">
                <a:latin typeface="Arial" panose="020B0604020202020204" pitchFamily="34" charset="0"/>
                <a:ea typeface="Helvetica Neue"/>
                <a:cs typeface="Arial" panose="020B0604020202020204" pitchFamily="34" charset="0"/>
                <a:sym typeface="Helvetica Neue"/>
              </a:rPr>
              <a:t>Anatomy Of A Map</a:t>
            </a:r>
            <a:endParaRPr dirty="0">
              <a:latin typeface="Arial" panose="020B0604020202020204" pitchFamily="34" charset="0"/>
              <a:ea typeface="Helvetica Neue"/>
              <a:cs typeface="Arial" panose="020B0604020202020204" pitchFamily="34" charset="0"/>
              <a:sym typeface="Helvetica Neue"/>
            </a:endParaRPr>
          </a:p>
        </p:txBody>
      </p:sp>
      <p:sp>
        <p:nvSpPr>
          <p:cNvPr id="479" name="Google Shape;479;p57"/>
          <p:cNvSpPr txBox="1"/>
          <p:nvPr/>
        </p:nvSpPr>
        <p:spPr>
          <a:xfrm>
            <a:off x="642803" y="1980145"/>
            <a:ext cx="1818225" cy="1112797"/>
          </a:xfrm>
          <a:prstGeom prst="rect">
            <a:avLst/>
          </a:prstGeom>
          <a:noFill/>
          <a:ln>
            <a:noFill/>
          </a:ln>
        </p:spPr>
        <p:txBody>
          <a:bodyPr spcFirstLastPara="1" wrap="square" lIns="0" tIns="50475" rIns="0" bIns="0" anchor="t" anchorCtr="0">
            <a:spAutoFit/>
          </a:bodyPr>
          <a:lstStyle/>
          <a:p>
            <a:pPr algn="ctr"/>
            <a:r>
              <a:rPr lang="en-IN" sz="1500" dirty="0">
                <a:solidFill>
                  <a:srgbClr val="2BA6ED"/>
                </a:solidFill>
                <a:latin typeface="Arial" panose="020B0604020202020204" pitchFamily="34" charset="0"/>
                <a:ea typeface="Proxima Nova"/>
                <a:cs typeface="Arial" panose="020B0604020202020204" pitchFamily="34" charset="0"/>
                <a:sym typeface="Proxima Nova"/>
              </a:rPr>
              <a:t>Users / Personas</a:t>
            </a:r>
            <a:endParaRPr sz="1500" dirty="0">
              <a:latin typeface="Arial" panose="020B0604020202020204" pitchFamily="34" charset="0"/>
              <a:ea typeface="Proxima Nova"/>
              <a:cs typeface="Arial" panose="020B0604020202020204" pitchFamily="34" charset="0"/>
              <a:sym typeface="Proxima Nova"/>
            </a:endParaRPr>
          </a:p>
          <a:p>
            <a:pPr marL="9525" marR="3810" algn="ctr">
              <a:lnSpc>
                <a:spcPct val="120000"/>
              </a:lnSpc>
            </a:pPr>
            <a:r>
              <a:rPr lang="en-IN" sz="1500" dirty="0">
                <a:solidFill>
                  <a:srgbClr val="454646"/>
                </a:solidFill>
                <a:latin typeface="Arial" panose="020B0604020202020204" pitchFamily="34" charset="0"/>
                <a:ea typeface="Proxima Nova"/>
                <a:cs typeface="Arial" panose="020B0604020202020204" pitchFamily="34" charset="0"/>
                <a:sym typeface="Proxima Nova"/>
              </a:rPr>
              <a:t>Who are your users and  what are their goals?</a:t>
            </a:r>
            <a:endParaRPr sz="1500" dirty="0">
              <a:latin typeface="Arial" panose="020B0604020202020204" pitchFamily="34" charset="0"/>
              <a:ea typeface="Proxima Nova"/>
              <a:cs typeface="Arial" panose="020B0604020202020204" pitchFamily="34" charset="0"/>
              <a:sym typeface="Proxima Nova"/>
            </a:endParaRPr>
          </a:p>
        </p:txBody>
      </p:sp>
      <p:sp>
        <p:nvSpPr>
          <p:cNvPr id="480" name="Google Shape;480;p57"/>
          <p:cNvSpPr/>
          <p:nvPr/>
        </p:nvSpPr>
        <p:spPr>
          <a:xfrm>
            <a:off x="2074834" y="1407301"/>
            <a:ext cx="866775" cy="555308"/>
          </a:xfrm>
          <a:custGeom>
            <a:avLst/>
            <a:gdLst/>
            <a:ahLst/>
            <a:cxnLst/>
            <a:rect l="l" t="t" r="r" b="b"/>
            <a:pathLst>
              <a:path w="1155700" h="740410" extrusionOk="0">
                <a:moveTo>
                  <a:pt x="1145538" y="31361"/>
                </a:moveTo>
                <a:lnTo>
                  <a:pt x="1091373" y="31361"/>
                </a:lnTo>
                <a:lnTo>
                  <a:pt x="1091968" y="44047"/>
                </a:lnTo>
                <a:lnTo>
                  <a:pt x="1079282" y="44644"/>
                </a:lnTo>
                <a:lnTo>
                  <a:pt x="1080113" y="76165"/>
                </a:lnTo>
                <a:lnTo>
                  <a:pt x="1155142" y="35810"/>
                </a:lnTo>
                <a:lnTo>
                  <a:pt x="1145538" y="31361"/>
                </a:lnTo>
                <a:close/>
              </a:path>
              <a:path w="1155700" h="740410" extrusionOk="0">
                <a:moveTo>
                  <a:pt x="1078980" y="38199"/>
                </a:moveTo>
                <a:lnTo>
                  <a:pt x="1079172" y="44644"/>
                </a:lnTo>
                <a:lnTo>
                  <a:pt x="1078980" y="38199"/>
                </a:lnTo>
                <a:close/>
              </a:path>
              <a:path w="1155700" h="740410" extrusionOk="0">
                <a:moveTo>
                  <a:pt x="1091373" y="31361"/>
                </a:moveTo>
                <a:lnTo>
                  <a:pt x="1078793" y="31953"/>
                </a:lnTo>
                <a:lnTo>
                  <a:pt x="1078980" y="38199"/>
                </a:lnTo>
                <a:lnTo>
                  <a:pt x="1079282" y="44644"/>
                </a:lnTo>
                <a:lnTo>
                  <a:pt x="1091968" y="44047"/>
                </a:lnTo>
                <a:lnTo>
                  <a:pt x="1091373" y="31361"/>
                </a:lnTo>
                <a:close/>
              </a:path>
              <a:path w="1155700" h="740410" extrusionOk="0">
                <a:moveTo>
                  <a:pt x="1078793" y="31953"/>
                </a:moveTo>
                <a:lnTo>
                  <a:pt x="1078980" y="38199"/>
                </a:lnTo>
                <a:lnTo>
                  <a:pt x="1078793" y="31953"/>
                </a:lnTo>
                <a:close/>
              </a:path>
              <a:path w="1155700" h="740410" extrusionOk="0">
                <a:moveTo>
                  <a:pt x="1077840" y="0"/>
                </a:moveTo>
                <a:lnTo>
                  <a:pt x="1078793" y="31953"/>
                </a:lnTo>
                <a:lnTo>
                  <a:pt x="1091373" y="31361"/>
                </a:lnTo>
                <a:lnTo>
                  <a:pt x="1145538" y="31361"/>
                </a:lnTo>
                <a:lnTo>
                  <a:pt x="1077840" y="0"/>
                </a:lnTo>
                <a:close/>
              </a:path>
              <a:path w="1155700" h="740410" extrusionOk="0">
                <a:moveTo>
                  <a:pt x="1040391" y="33957"/>
                </a:moveTo>
                <a:lnTo>
                  <a:pt x="1027738" y="35053"/>
                </a:lnTo>
                <a:lnTo>
                  <a:pt x="1028835" y="47706"/>
                </a:lnTo>
                <a:lnTo>
                  <a:pt x="1041487" y="46610"/>
                </a:lnTo>
                <a:lnTo>
                  <a:pt x="1040391" y="33957"/>
                </a:lnTo>
                <a:close/>
              </a:path>
              <a:path w="1155700" h="740410" extrusionOk="0">
                <a:moveTo>
                  <a:pt x="989578" y="38425"/>
                </a:moveTo>
                <a:lnTo>
                  <a:pt x="976970" y="39937"/>
                </a:lnTo>
                <a:lnTo>
                  <a:pt x="978482" y="52547"/>
                </a:lnTo>
                <a:lnTo>
                  <a:pt x="991092" y="51033"/>
                </a:lnTo>
                <a:lnTo>
                  <a:pt x="989578" y="38425"/>
                </a:lnTo>
                <a:close/>
              </a:path>
              <a:path w="1155700" h="740410" extrusionOk="0">
                <a:moveTo>
                  <a:pt x="939140" y="44477"/>
                </a:moveTo>
                <a:lnTo>
                  <a:pt x="938326" y="44575"/>
                </a:lnTo>
                <a:lnTo>
                  <a:pt x="926377" y="46412"/>
                </a:lnTo>
                <a:lnTo>
                  <a:pt x="928306" y="58964"/>
                </a:lnTo>
                <a:lnTo>
                  <a:pt x="939971" y="57171"/>
                </a:lnTo>
                <a:lnTo>
                  <a:pt x="940654" y="57086"/>
                </a:lnTo>
                <a:lnTo>
                  <a:pt x="939140" y="44477"/>
                </a:lnTo>
                <a:close/>
              </a:path>
              <a:path w="1155700" h="740410" extrusionOk="0">
                <a:moveTo>
                  <a:pt x="888719" y="52200"/>
                </a:moveTo>
                <a:lnTo>
                  <a:pt x="885972" y="52623"/>
                </a:lnTo>
                <a:lnTo>
                  <a:pt x="876014" y="54494"/>
                </a:lnTo>
                <a:lnTo>
                  <a:pt x="878361" y="66975"/>
                </a:lnTo>
                <a:lnTo>
                  <a:pt x="888024" y="65159"/>
                </a:lnTo>
                <a:lnTo>
                  <a:pt x="890648" y="64753"/>
                </a:lnTo>
                <a:lnTo>
                  <a:pt x="888719" y="52200"/>
                </a:lnTo>
                <a:close/>
              </a:path>
              <a:path w="1155700" h="740410" extrusionOk="0">
                <a:moveTo>
                  <a:pt x="838570" y="61532"/>
                </a:moveTo>
                <a:lnTo>
                  <a:pt x="834473" y="62302"/>
                </a:lnTo>
                <a:lnTo>
                  <a:pt x="825939" y="64204"/>
                </a:lnTo>
                <a:lnTo>
                  <a:pt x="828701" y="76601"/>
                </a:lnTo>
                <a:lnTo>
                  <a:pt x="836939" y="74764"/>
                </a:lnTo>
                <a:lnTo>
                  <a:pt x="840916" y="74014"/>
                </a:lnTo>
                <a:lnTo>
                  <a:pt x="838570" y="61532"/>
                </a:lnTo>
                <a:close/>
              </a:path>
              <a:path w="1155700" h="740410" extrusionOk="0">
                <a:moveTo>
                  <a:pt x="788751" y="72494"/>
                </a:moveTo>
                <a:lnTo>
                  <a:pt x="783893" y="73576"/>
                </a:lnTo>
                <a:lnTo>
                  <a:pt x="776208" y="75563"/>
                </a:lnTo>
                <a:lnTo>
                  <a:pt x="779388" y="87859"/>
                </a:lnTo>
                <a:lnTo>
                  <a:pt x="786779" y="85948"/>
                </a:lnTo>
                <a:lnTo>
                  <a:pt x="791514" y="84889"/>
                </a:lnTo>
                <a:lnTo>
                  <a:pt x="788751" y="72494"/>
                </a:lnTo>
                <a:close/>
              </a:path>
              <a:path w="1155700" h="740410" extrusionOk="0">
                <a:moveTo>
                  <a:pt x="739322" y="85103"/>
                </a:moveTo>
                <a:lnTo>
                  <a:pt x="734292" y="86405"/>
                </a:lnTo>
                <a:lnTo>
                  <a:pt x="726887" y="88592"/>
                </a:lnTo>
                <a:lnTo>
                  <a:pt x="730486" y="100771"/>
                </a:lnTo>
                <a:lnTo>
                  <a:pt x="737588" y="98673"/>
                </a:lnTo>
                <a:lnTo>
                  <a:pt x="742502" y="97398"/>
                </a:lnTo>
                <a:lnTo>
                  <a:pt x="739322" y="85103"/>
                </a:lnTo>
                <a:close/>
              </a:path>
              <a:path w="1155700" h="740410" extrusionOk="0">
                <a:moveTo>
                  <a:pt x="690349" y="99386"/>
                </a:moveTo>
                <a:lnTo>
                  <a:pt x="685727" y="100751"/>
                </a:lnTo>
                <a:lnTo>
                  <a:pt x="678042" y="103314"/>
                </a:lnTo>
                <a:lnTo>
                  <a:pt x="682059" y="115362"/>
                </a:lnTo>
                <a:lnTo>
                  <a:pt x="689442" y="112900"/>
                </a:lnTo>
                <a:lnTo>
                  <a:pt x="693947" y="111566"/>
                </a:lnTo>
                <a:lnTo>
                  <a:pt x="690349" y="99386"/>
                </a:lnTo>
                <a:close/>
              </a:path>
              <a:path w="1155700" h="740410" extrusionOk="0">
                <a:moveTo>
                  <a:pt x="641898" y="115365"/>
                </a:moveTo>
                <a:lnTo>
                  <a:pt x="638262" y="116578"/>
                </a:lnTo>
                <a:lnTo>
                  <a:pt x="629746" y="119754"/>
                </a:lnTo>
                <a:lnTo>
                  <a:pt x="634183" y="131654"/>
                </a:lnTo>
                <a:lnTo>
                  <a:pt x="642395" y="128591"/>
                </a:lnTo>
                <a:lnTo>
                  <a:pt x="645915" y="127414"/>
                </a:lnTo>
                <a:lnTo>
                  <a:pt x="641898" y="115365"/>
                </a:lnTo>
                <a:close/>
              </a:path>
              <a:path w="1155700" h="740410" extrusionOk="0">
                <a:moveTo>
                  <a:pt x="594047" y="133068"/>
                </a:moveTo>
                <a:lnTo>
                  <a:pt x="591955" y="133847"/>
                </a:lnTo>
                <a:lnTo>
                  <a:pt x="582075" y="137939"/>
                </a:lnTo>
                <a:lnTo>
                  <a:pt x="586934" y="149673"/>
                </a:lnTo>
                <a:lnTo>
                  <a:pt x="596511" y="145707"/>
                </a:lnTo>
                <a:lnTo>
                  <a:pt x="598484" y="144966"/>
                </a:lnTo>
                <a:lnTo>
                  <a:pt x="594047" y="133068"/>
                </a:lnTo>
                <a:close/>
              </a:path>
              <a:path w="1155700" h="740410" extrusionOk="0">
                <a:moveTo>
                  <a:pt x="546663" y="152614"/>
                </a:moveTo>
                <a:lnTo>
                  <a:pt x="535115" y="157897"/>
                </a:lnTo>
                <a:lnTo>
                  <a:pt x="540398" y="169447"/>
                </a:lnTo>
                <a:lnTo>
                  <a:pt x="551947" y="164164"/>
                </a:lnTo>
                <a:lnTo>
                  <a:pt x="546663" y="152614"/>
                </a:lnTo>
                <a:close/>
              </a:path>
              <a:path w="1155700" h="740410" extrusionOk="0">
                <a:moveTo>
                  <a:pt x="500303" y="173949"/>
                </a:moveTo>
                <a:lnTo>
                  <a:pt x="488958" y="179658"/>
                </a:lnTo>
                <a:lnTo>
                  <a:pt x="494667" y="191002"/>
                </a:lnTo>
                <a:lnTo>
                  <a:pt x="506012" y="185294"/>
                </a:lnTo>
                <a:lnTo>
                  <a:pt x="500303" y="173949"/>
                </a:lnTo>
                <a:close/>
              </a:path>
              <a:path w="1155700" h="740410" extrusionOk="0">
                <a:moveTo>
                  <a:pt x="454826" y="197114"/>
                </a:moveTo>
                <a:lnTo>
                  <a:pt x="443706" y="203249"/>
                </a:lnTo>
                <a:lnTo>
                  <a:pt x="449842" y="214369"/>
                </a:lnTo>
                <a:lnTo>
                  <a:pt x="460961" y="208233"/>
                </a:lnTo>
                <a:lnTo>
                  <a:pt x="454826" y="197114"/>
                </a:lnTo>
                <a:close/>
              </a:path>
              <a:path w="1155700" h="740410" extrusionOk="0">
                <a:moveTo>
                  <a:pt x="410340" y="222139"/>
                </a:moveTo>
                <a:lnTo>
                  <a:pt x="399469" y="228704"/>
                </a:lnTo>
                <a:lnTo>
                  <a:pt x="406034" y="239576"/>
                </a:lnTo>
                <a:lnTo>
                  <a:pt x="416905" y="233011"/>
                </a:lnTo>
                <a:lnTo>
                  <a:pt x="410340" y="222139"/>
                </a:lnTo>
                <a:close/>
              </a:path>
              <a:path w="1155700" h="740410" extrusionOk="0">
                <a:moveTo>
                  <a:pt x="366969" y="249055"/>
                </a:moveTo>
                <a:lnTo>
                  <a:pt x="356368" y="256052"/>
                </a:lnTo>
                <a:lnTo>
                  <a:pt x="363363" y="266651"/>
                </a:lnTo>
                <a:lnTo>
                  <a:pt x="373964" y="259656"/>
                </a:lnTo>
                <a:lnTo>
                  <a:pt x="366969" y="249055"/>
                </a:lnTo>
                <a:close/>
              </a:path>
              <a:path w="1155700" h="740410" extrusionOk="0">
                <a:moveTo>
                  <a:pt x="324841" y="277892"/>
                </a:moveTo>
                <a:lnTo>
                  <a:pt x="314538" y="285319"/>
                </a:lnTo>
                <a:lnTo>
                  <a:pt x="321965" y="295621"/>
                </a:lnTo>
                <a:lnTo>
                  <a:pt x="332267" y="288196"/>
                </a:lnTo>
                <a:lnTo>
                  <a:pt x="324841" y="277892"/>
                </a:lnTo>
                <a:close/>
              </a:path>
              <a:path w="1155700" h="740410" extrusionOk="0">
                <a:moveTo>
                  <a:pt x="284105" y="308674"/>
                </a:moveTo>
                <a:lnTo>
                  <a:pt x="274128" y="316533"/>
                </a:lnTo>
                <a:lnTo>
                  <a:pt x="281985" y="326510"/>
                </a:lnTo>
                <a:lnTo>
                  <a:pt x="291962" y="318651"/>
                </a:lnTo>
                <a:lnTo>
                  <a:pt x="284105" y="308674"/>
                </a:lnTo>
                <a:close/>
              </a:path>
              <a:path w="1155700" h="740410" extrusionOk="0">
                <a:moveTo>
                  <a:pt x="244919" y="341424"/>
                </a:moveTo>
                <a:lnTo>
                  <a:pt x="237308" y="347981"/>
                </a:lnTo>
                <a:lnTo>
                  <a:pt x="235168" y="350000"/>
                </a:lnTo>
                <a:lnTo>
                  <a:pt x="243885" y="359236"/>
                </a:lnTo>
                <a:lnTo>
                  <a:pt x="245716" y="357508"/>
                </a:lnTo>
                <a:lnTo>
                  <a:pt x="253208" y="351045"/>
                </a:lnTo>
                <a:lnTo>
                  <a:pt x="244919" y="341424"/>
                </a:lnTo>
                <a:close/>
              </a:path>
              <a:path w="1155700" h="740410" extrusionOk="0">
                <a:moveTo>
                  <a:pt x="207462" y="376153"/>
                </a:moveTo>
                <a:lnTo>
                  <a:pt x="205916" y="377612"/>
                </a:lnTo>
                <a:lnTo>
                  <a:pt x="198368" y="385439"/>
                </a:lnTo>
                <a:lnTo>
                  <a:pt x="207511" y="394254"/>
                </a:lnTo>
                <a:lnTo>
                  <a:pt x="214753" y="386745"/>
                </a:lnTo>
                <a:lnTo>
                  <a:pt x="216179" y="385389"/>
                </a:lnTo>
                <a:lnTo>
                  <a:pt x="207462" y="376153"/>
                </a:lnTo>
                <a:close/>
              </a:path>
              <a:path w="1155700" h="740410" extrusionOk="0">
                <a:moveTo>
                  <a:pt x="171949" y="413311"/>
                </a:moveTo>
                <a:lnTo>
                  <a:pt x="163589" y="422871"/>
                </a:lnTo>
                <a:lnTo>
                  <a:pt x="173151" y="431231"/>
                </a:lnTo>
                <a:lnTo>
                  <a:pt x="181510" y="421670"/>
                </a:lnTo>
                <a:lnTo>
                  <a:pt x="171949" y="413311"/>
                </a:lnTo>
                <a:close/>
              </a:path>
              <a:path w="1155700" h="740410" extrusionOk="0">
                <a:moveTo>
                  <a:pt x="138913" y="452305"/>
                </a:moveTo>
                <a:lnTo>
                  <a:pt x="131048" y="462277"/>
                </a:lnTo>
                <a:lnTo>
                  <a:pt x="141019" y="470142"/>
                </a:lnTo>
                <a:lnTo>
                  <a:pt x="148885" y="460171"/>
                </a:lnTo>
                <a:lnTo>
                  <a:pt x="138913" y="452305"/>
                </a:lnTo>
                <a:close/>
              </a:path>
              <a:path w="1155700" h="740410" extrusionOk="0">
                <a:moveTo>
                  <a:pt x="108309" y="493245"/>
                </a:moveTo>
                <a:lnTo>
                  <a:pt x="100976" y="503614"/>
                </a:lnTo>
                <a:lnTo>
                  <a:pt x="111344" y="510947"/>
                </a:lnTo>
                <a:lnTo>
                  <a:pt x="118677" y="500578"/>
                </a:lnTo>
                <a:lnTo>
                  <a:pt x="108309" y="493245"/>
                </a:lnTo>
                <a:close/>
              </a:path>
              <a:path w="1155700" h="740410" extrusionOk="0">
                <a:moveTo>
                  <a:pt x="80375" y="536068"/>
                </a:moveTo>
                <a:lnTo>
                  <a:pt x="77589" y="540500"/>
                </a:lnTo>
                <a:lnTo>
                  <a:pt x="73803" y="547344"/>
                </a:lnTo>
                <a:lnTo>
                  <a:pt x="84916" y="553491"/>
                </a:lnTo>
                <a:lnTo>
                  <a:pt x="88445" y="547110"/>
                </a:lnTo>
                <a:lnTo>
                  <a:pt x="91126" y="542829"/>
                </a:lnTo>
                <a:lnTo>
                  <a:pt x="80375" y="536068"/>
                </a:lnTo>
                <a:close/>
              </a:path>
              <a:path w="1155700" h="740410" extrusionOk="0">
                <a:moveTo>
                  <a:pt x="55492" y="581164"/>
                </a:moveTo>
                <a:lnTo>
                  <a:pt x="49998" y="592615"/>
                </a:lnTo>
                <a:lnTo>
                  <a:pt x="61448" y="598109"/>
                </a:lnTo>
                <a:lnTo>
                  <a:pt x="66942" y="586658"/>
                </a:lnTo>
                <a:lnTo>
                  <a:pt x="55492" y="581164"/>
                </a:lnTo>
                <a:close/>
              </a:path>
              <a:path w="1155700" h="740410" extrusionOk="0">
                <a:moveTo>
                  <a:pt x="34289" y="627722"/>
                </a:moveTo>
                <a:lnTo>
                  <a:pt x="29488" y="639480"/>
                </a:lnTo>
                <a:lnTo>
                  <a:pt x="41245" y="644282"/>
                </a:lnTo>
                <a:lnTo>
                  <a:pt x="46047" y="632524"/>
                </a:lnTo>
                <a:lnTo>
                  <a:pt x="34289" y="627722"/>
                </a:lnTo>
                <a:close/>
              </a:path>
              <a:path w="1155700" h="740410" extrusionOk="0">
                <a:moveTo>
                  <a:pt x="16578" y="675725"/>
                </a:moveTo>
                <a:lnTo>
                  <a:pt x="13026" y="686217"/>
                </a:lnTo>
                <a:lnTo>
                  <a:pt x="12499" y="688168"/>
                </a:lnTo>
                <a:lnTo>
                  <a:pt x="24759" y="691479"/>
                </a:lnTo>
                <a:lnTo>
                  <a:pt x="25132" y="690100"/>
                </a:lnTo>
                <a:lnTo>
                  <a:pt x="25234" y="689719"/>
                </a:lnTo>
                <a:lnTo>
                  <a:pt x="28608" y="679797"/>
                </a:lnTo>
                <a:lnTo>
                  <a:pt x="16578" y="675725"/>
                </a:lnTo>
                <a:close/>
              </a:path>
              <a:path w="1155700" h="740410" extrusionOk="0">
                <a:moveTo>
                  <a:pt x="25248" y="689719"/>
                </a:moveTo>
                <a:lnTo>
                  <a:pt x="25182" y="689914"/>
                </a:lnTo>
                <a:lnTo>
                  <a:pt x="25248" y="689719"/>
                </a:lnTo>
                <a:close/>
              </a:path>
              <a:path w="1155700" h="740410" extrusionOk="0">
                <a:moveTo>
                  <a:pt x="2519" y="725357"/>
                </a:moveTo>
                <a:lnTo>
                  <a:pt x="0" y="737805"/>
                </a:lnTo>
                <a:lnTo>
                  <a:pt x="12447" y="740324"/>
                </a:lnTo>
                <a:lnTo>
                  <a:pt x="14966" y="727877"/>
                </a:lnTo>
                <a:lnTo>
                  <a:pt x="2519" y="725357"/>
                </a:lnTo>
                <a:close/>
              </a:path>
            </a:pathLst>
          </a:custGeom>
          <a:solidFill>
            <a:srgbClr val="1B2429"/>
          </a:solidFill>
          <a:ln>
            <a:noFill/>
          </a:ln>
        </p:spPr>
        <p:txBody>
          <a:bodyPr spcFirstLastPara="1" wrap="square" lIns="0" tIns="0" rIns="0" bIns="0" anchor="t" anchorCtr="0">
            <a:noAutofit/>
          </a:bodyPr>
          <a:lstStyle/>
          <a:p>
            <a:endParaRPr sz="1050" dirty="0"/>
          </a:p>
        </p:txBody>
      </p:sp>
      <p:grpSp>
        <p:nvGrpSpPr>
          <p:cNvPr id="481" name="Google Shape;481;p57"/>
          <p:cNvGrpSpPr/>
          <p:nvPr/>
        </p:nvGrpSpPr>
        <p:grpSpPr>
          <a:xfrm>
            <a:off x="2965743" y="1829883"/>
            <a:ext cx="5535454" cy="3029557"/>
            <a:chOff x="3954323" y="2439844"/>
            <a:chExt cx="7380605" cy="4039409"/>
          </a:xfrm>
        </p:grpSpPr>
        <p:sp>
          <p:nvSpPr>
            <p:cNvPr id="482" name="Google Shape;482;p57"/>
            <p:cNvSpPr/>
            <p:nvPr/>
          </p:nvSpPr>
          <p:spPr>
            <a:xfrm>
              <a:off x="4282568" y="318491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83" name="Google Shape;483;p57"/>
            <p:cNvSpPr/>
            <p:nvPr/>
          </p:nvSpPr>
          <p:spPr>
            <a:xfrm>
              <a:off x="5267524" y="318491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84" name="Google Shape;484;p57"/>
            <p:cNvSpPr/>
            <p:nvPr/>
          </p:nvSpPr>
          <p:spPr>
            <a:xfrm>
              <a:off x="6252480"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85" name="Google Shape;485;p57"/>
            <p:cNvSpPr/>
            <p:nvPr/>
          </p:nvSpPr>
          <p:spPr>
            <a:xfrm>
              <a:off x="7237436"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86" name="Google Shape;486;p57"/>
            <p:cNvSpPr/>
            <p:nvPr/>
          </p:nvSpPr>
          <p:spPr>
            <a:xfrm>
              <a:off x="8222391"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87" name="Google Shape;487;p57"/>
            <p:cNvSpPr/>
            <p:nvPr/>
          </p:nvSpPr>
          <p:spPr>
            <a:xfrm>
              <a:off x="9207347"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88" name="Google Shape;488;p57"/>
            <p:cNvSpPr/>
            <p:nvPr/>
          </p:nvSpPr>
          <p:spPr>
            <a:xfrm>
              <a:off x="10192302"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489" name="Google Shape;489;p57"/>
            <p:cNvSpPr/>
            <p:nvPr/>
          </p:nvSpPr>
          <p:spPr>
            <a:xfrm>
              <a:off x="4282568" y="243984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490" name="Google Shape;490;p57"/>
            <p:cNvSpPr/>
            <p:nvPr/>
          </p:nvSpPr>
          <p:spPr>
            <a:xfrm>
              <a:off x="6252480" y="243984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491" name="Google Shape;491;p57"/>
            <p:cNvSpPr/>
            <p:nvPr/>
          </p:nvSpPr>
          <p:spPr>
            <a:xfrm>
              <a:off x="9211901" y="243984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492" name="Google Shape;492;p57"/>
            <p:cNvSpPr/>
            <p:nvPr/>
          </p:nvSpPr>
          <p:spPr>
            <a:xfrm>
              <a:off x="4282568" y="41646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93" name="Google Shape;493;p57"/>
            <p:cNvSpPr/>
            <p:nvPr/>
          </p:nvSpPr>
          <p:spPr>
            <a:xfrm>
              <a:off x="5267524" y="41646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94" name="Google Shape;494;p57"/>
            <p:cNvSpPr/>
            <p:nvPr/>
          </p:nvSpPr>
          <p:spPr>
            <a:xfrm>
              <a:off x="6252480"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95" name="Google Shape;495;p57"/>
            <p:cNvSpPr/>
            <p:nvPr/>
          </p:nvSpPr>
          <p:spPr>
            <a:xfrm>
              <a:off x="9211901"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96" name="Google Shape;496;p57"/>
            <p:cNvSpPr/>
            <p:nvPr/>
          </p:nvSpPr>
          <p:spPr>
            <a:xfrm>
              <a:off x="10192302"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97" name="Google Shape;497;p57"/>
            <p:cNvSpPr/>
            <p:nvPr/>
          </p:nvSpPr>
          <p:spPr>
            <a:xfrm>
              <a:off x="5267524" y="4909730"/>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98" name="Google Shape;498;p57"/>
            <p:cNvSpPr/>
            <p:nvPr/>
          </p:nvSpPr>
          <p:spPr>
            <a:xfrm>
              <a:off x="7237436" y="490973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499" name="Google Shape;499;p57"/>
            <p:cNvSpPr/>
            <p:nvPr/>
          </p:nvSpPr>
          <p:spPr>
            <a:xfrm>
              <a:off x="8222391" y="490973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00" name="Google Shape;500;p57"/>
            <p:cNvSpPr/>
            <p:nvPr/>
          </p:nvSpPr>
          <p:spPr>
            <a:xfrm>
              <a:off x="3954323" y="3968637"/>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01" name="Google Shape;501;p57"/>
            <p:cNvSpPr/>
            <p:nvPr/>
          </p:nvSpPr>
          <p:spPr>
            <a:xfrm>
              <a:off x="3954323" y="5696432"/>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02" name="Google Shape;502;p57"/>
            <p:cNvSpPr/>
            <p:nvPr/>
          </p:nvSpPr>
          <p:spPr>
            <a:xfrm>
              <a:off x="4282568" y="58861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03" name="Google Shape;503;p57"/>
            <p:cNvSpPr/>
            <p:nvPr/>
          </p:nvSpPr>
          <p:spPr>
            <a:xfrm>
              <a:off x="5267524" y="58861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04" name="Google Shape;504;p57"/>
            <p:cNvSpPr/>
            <p:nvPr/>
          </p:nvSpPr>
          <p:spPr>
            <a:xfrm>
              <a:off x="6252480" y="58861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05" name="Google Shape;505;p57"/>
            <p:cNvSpPr/>
            <p:nvPr/>
          </p:nvSpPr>
          <p:spPr>
            <a:xfrm>
              <a:off x="8222391" y="58861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grpSp>
      <p:grpSp>
        <p:nvGrpSpPr>
          <p:cNvPr id="506" name="Google Shape;506;p57"/>
          <p:cNvGrpSpPr/>
          <p:nvPr/>
        </p:nvGrpSpPr>
        <p:grpSpPr>
          <a:xfrm>
            <a:off x="3206512" y="1115100"/>
            <a:ext cx="4320064" cy="648176"/>
            <a:chOff x="4418708" y="1025419"/>
            <a:chExt cx="5760085" cy="864235"/>
          </a:xfrm>
        </p:grpSpPr>
        <p:sp>
          <p:nvSpPr>
            <p:cNvPr id="507" name="Google Shape;507;p57"/>
            <p:cNvSpPr/>
            <p:nvPr/>
          </p:nvSpPr>
          <p:spPr>
            <a:xfrm>
              <a:off x="4538262" y="111622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08" name="Google Shape;508;p57"/>
            <p:cNvSpPr/>
            <p:nvPr/>
          </p:nvSpPr>
          <p:spPr>
            <a:xfrm>
              <a:off x="4625778" y="123308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09" name="Google Shape;509;p57"/>
            <p:cNvSpPr/>
            <p:nvPr/>
          </p:nvSpPr>
          <p:spPr>
            <a:xfrm>
              <a:off x="9467596" y="111622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10" name="Google Shape;510;p57"/>
            <p:cNvSpPr/>
            <p:nvPr/>
          </p:nvSpPr>
          <p:spPr>
            <a:xfrm>
              <a:off x="9555111" y="123308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11" name="Google Shape;511;p57"/>
            <p:cNvSpPr/>
            <p:nvPr/>
          </p:nvSpPr>
          <p:spPr>
            <a:xfrm>
              <a:off x="4418708" y="1025419"/>
              <a:ext cx="5760085" cy="864235"/>
            </a:xfrm>
            <a:custGeom>
              <a:avLst/>
              <a:gdLst/>
              <a:ahLst/>
              <a:cxnLst/>
              <a:rect l="l" t="t" r="r" b="b"/>
              <a:pathLst>
                <a:path w="5760084" h="864235" extrusionOk="0">
                  <a:moveTo>
                    <a:pt x="0" y="0"/>
                  </a:moveTo>
                  <a:lnTo>
                    <a:pt x="5759998" y="0"/>
                  </a:lnTo>
                  <a:lnTo>
                    <a:pt x="5759998" y="863999"/>
                  </a:lnTo>
                  <a:lnTo>
                    <a:pt x="0" y="863999"/>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grpSp>
      <p:sp>
        <p:nvSpPr>
          <p:cNvPr id="512" name="Google Shape;512;p57"/>
          <p:cNvSpPr txBox="1">
            <a:spLocks noGrp="1"/>
          </p:cNvSpPr>
          <p:nvPr>
            <p:ph type="sldNum" idx="12"/>
          </p:nvPr>
        </p:nvSpPr>
        <p:spPr>
          <a:xfrm>
            <a:off x="8556784" y="4749851"/>
            <a:ext cx="548775" cy="393525"/>
          </a:xfrm>
          <a:prstGeom prst="rect">
            <a:avLst/>
          </a:prstGeom>
        </p:spPr>
        <p:txBody>
          <a:bodyPr spcFirstLastPara="1" wrap="square" lIns="91425" tIns="91425" rIns="91425" bIns="91425" anchor="t" anchorCtr="0">
            <a:noAutofit/>
          </a:bodyPr>
          <a:lstStyle/>
          <a:p>
            <a:pPr>
              <a:buSzPts val="1700"/>
            </a:pPr>
            <a:fld id="{00000000-1234-1234-1234-123412341234}" type="slidenum">
              <a:rPr lang="en-IN"/>
              <a:pPr>
                <a:buSzPts val="1700"/>
              </a:pPr>
              <a:t>25</a:t>
            </a:fld>
            <a:endParaRPr dirty="0"/>
          </a:p>
        </p:txBody>
      </p:sp>
      <p:sp>
        <p:nvSpPr>
          <p:cNvPr id="2" name="TextBox 1">
            <a:extLst>
              <a:ext uri="{FF2B5EF4-FFF2-40B4-BE49-F238E27FC236}">
                <a16:creationId xmlns:a16="http://schemas.microsoft.com/office/drawing/2014/main" id="{B2CDC392-26F8-FC55-08FD-40D9C7187D1F}"/>
              </a:ext>
            </a:extLst>
          </p:cNvPr>
          <p:cNvSpPr txBox="1"/>
          <p:nvPr/>
        </p:nvSpPr>
        <p:spPr>
          <a:xfrm>
            <a:off x="4077556" y="1251501"/>
            <a:ext cx="2577975" cy="369332"/>
          </a:xfrm>
          <a:prstGeom prst="rect">
            <a:avLst/>
          </a:prstGeom>
          <a:noFill/>
        </p:spPr>
        <p:txBody>
          <a:bodyPr wrap="square" rtlCol="0">
            <a:spAutoFit/>
          </a:bodyPr>
          <a:lstStyle/>
          <a:p>
            <a:pPr algn="ctr"/>
            <a:r>
              <a:rPr lang="en-US" sz="1800" dirty="0">
                <a:solidFill>
                  <a:srgbClr val="FF0000"/>
                </a:solidFill>
              </a:rPr>
              <a:t>RBAC &amp; ABAC</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80"/>
                                        </p:tgtEl>
                                        <p:attrNameLst>
                                          <p:attrName>style.visibility</p:attrName>
                                        </p:attrNameLst>
                                      </p:cBhvr>
                                      <p:to>
                                        <p:strVal val="visible"/>
                                      </p:to>
                                    </p:set>
                                    <p:animEffect transition="in" filter="fade">
                                      <p:cBhvr>
                                        <p:cTn id="15" dur="500"/>
                                        <p:tgtEl>
                                          <p:spTgt spid="480"/>
                                        </p:tgtEl>
                                      </p:cBhvr>
                                    </p:animEffect>
                                  </p:childTnLst>
                                </p:cTn>
                              </p:par>
                              <p:par>
                                <p:cTn id="16" presetID="10" presetClass="entr" presetSubtype="0" fill="hold" nodeType="withEffect">
                                  <p:stCondLst>
                                    <p:cond delay="0"/>
                                  </p:stCondLst>
                                  <p:childTnLst>
                                    <p:set>
                                      <p:cBhvr>
                                        <p:cTn id="17" dur="1" fill="hold">
                                          <p:stCondLst>
                                            <p:cond delay="0"/>
                                          </p:stCondLst>
                                        </p:cTn>
                                        <p:tgtEl>
                                          <p:spTgt spid="479"/>
                                        </p:tgtEl>
                                        <p:attrNameLst>
                                          <p:attrName>style.visibility</p:attrName>
                                        </p:attrNameLst>
                                      </p:cBhvr>
                                      <p:to>
                                        <p:strVal val="visible"/>
                                      </p:to>
                                    </p:set>
                                    <p:animEffect transition="in" filter="fade">
                                      <p:cBhvr>
                                        <p:cTn id="18" dur="500"/>
                                        <p:tgtEl>
                                          <p:spTgt spid="479"/>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sp>
        <p:nvSpPr>
          <p:cNvPr id="517" name="Google Shape;517;p58"/>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3200"/>
            </a:pPr>
            <a:r>
              <a:rPr lang="en-IN" dirty="0">
                <a:latin typeface="Arial" panose="020B0604020202020204" pitchFamily="34" charset="0"/>
                <a:ea typeface="Helvetica Neue"/>
                <a:cs typeface="Arial" panose="020B0604020202020204" pitchFamily="34" charset="0"/>
                <a:sym typeface="Helvetica Neue"/>
              </a:rPr>
              <a:t>Anatomy Of A Map</a:t>
            </a:r>
            <a:endParaRPr dirty="0">
              <a:latin typeface="Arial" panose="020B0604020202020204" pitchFamily="34" charset="0"/>
              <a:ea typeface="Helvetica Neue"/>
              <a:cs typeface="Arial" panose="020B0604020202020204" pitchFamily="34" charset="0"/>
              <a:sym typeface="Helvetica Neue"/>
            </a:endParaRPr>
          </a:p>
        </p:txBody>
      </p:sp>
      <p:grpSp>
        <p:nvGrpSpPr>
          <p:cNvPr id="518" name="Google Shape;518;p58"/>
          <p:cNvGrpSpPr/>
          <p:nvPr/>
        </p:nvGrpSpPr>
        <p:grpSpPr>
          <a:xfrm>
            <a:off x="2965743" y="1115099"/>
            <a:ext cx="5535454" cy="3744341"/>
            <a:chOff x="3954323" y="1486799"/>
            <a:chExt cx="7380605" cy="4992454"/>
          </a:xfrm>
        </p:grpSpPr>
        <p:sp>
          <p:nvSpPr>
            <p:cNvPr id="519" name="Google Shape;519;p58"/>
            <p:cNvSpPr/>
            <p:nvPr/>
          </p:nvSpPr>
          <p:spPr>
            <a:xfrm>
              <a:off x="4282568" y="243984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520" name="Google Shape;520;p58"/>
            <p:cNvSpPr/>
            <p:nvPr/>
          </p:nvSpPr>
          <p:spPr>
            <a:xfrm>
              <a:off x="6252480" y="243984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521" name="Google Shape;521;p58"/>
            <p:cNvSpPr/>
            <p:nvPr/>
          </p:nvSpPr>
          <p:spPr>
            <a:xfrm>
              <a:off x="9211901" y="243984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522" name="Google Shape;522;p58"/>
            <p:cNvSpPr/>
            <p:nvPr/>
          </p:nvSpPr>
          <p:spPr>
            <a:xfrm>
              <a:off x="4282568" y="41646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23" name="Google Shape;523;p58"/>
            <p:cNvSpPr/>
            <p:nvPr/>
          </p:nvSpPr>
          <p:spPr>
            <a:xfrm>
              <a:off x="5267524" y="41646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24" name="Google Shape;524;p58"/>
            <p:cNvSpPr/>
            <p:nvPr/>
          </p:nvSpPr>
          <p:spPr>
            <a:xfrm>
              <a:off x="6252480"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25" name="Google Shape;525;p58"/>
            <p:cNvSpPr/>
            <p:nvPr/>
          </p:nvSpPr>
          <p:spPr>
            <a:xfrm>
              <a:off x="9211901"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26" name="Google Shape;526;p58"/>
            <p:cNvSpPr/>
            <p:nvPr/>
          </p:nvSpPr>
          <p:spPr>
            <a:xfrm>
              <a:off x="10192302"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27" name="Google Shape;527;p58"/>
            <p:cNvSpPr/>
            <p:nvPr/>
          </p:nvSpPr>
          <p:spPr>
            <a:xfrm>
              <a:off x="5267524" y="4909730"/>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28" name="Google Shape;528;p58"/>
            <p:cNvSpPr/>
            <p:nvPr/>
          </p:nvSpPr>
          <p:spPr>
            <a:xfrm>
              <a:off x="7237436" y="490973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29" name="Google Shape;529;p58"/>
            <p:cNvSpPr/>
            <p:nvPr/>
          </p:nvSpPr>
          <p:spPr>
            <a:xfrm>
              <a:off x="8222391" y="490973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30" name="Google Shape;530;p58"/>
            <p:cNvSpPr/>
            <p:nvPr/>
          </p:nvSpPr>
          <p:spPr>
            <a:xfrm>
              <a:off x="3954323" y="3968637"/>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31" name="Google Shape;531;p58"/>
            <p:cNvSpPr/>
            <p:nvPr/>
          </p:nvSpPr>
          <p:spPr>
            <a:xfrm>
              <a:off x="3954323" y="5696432"/>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32" name="Google Shape;532;p58"/>
            <p:cNvSpPr/>
            <p:nvPr/>
          </p:nvSpPr>
          <p:spPr>
            <a:xfrm>
              <a:off x="4282568" y="58861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33" name="Google Shape;533;p58"/>
            <p:cNvSpPr/>
            <p:nvPr/>
          </p:nvSpPr>
          <p:spPr>
            <a:xfrm>
              <a:off x="5267524" y="58861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34" name="Google Shape;534;p58"/>
            <p:cNvSpPr/>
            <p:nvPr/>
          </p:nvSpPr>
          <p:spPr>
            <a:xfrm>
              <a:off x="6252480" y="58861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35" name="Google Shape;535;p58"/>
            <p:cNvSpPr/>
            <p:nvPr/>
          </p:nvSpPr>
          <p:spPr>
            <a:xfrm>
              <a:off x="8222391" y="58861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grpSp>
          <p:nvGrpSpPr>
            <p:cNvPr id="536" name="Google Shape;536;p58"/>
            <p:cNvGrpSpPr/>
            <p:nvPr/>
          </p:nvGrpSpPr>
          <p:grpSpPr>
            <a:xfrm>
              <a:off x="4275349" y="1486799"/>
              <a:ext cx="5760085" cy="864235"/>
              <a:chOff x="4418708" y="1025419"/>
              <a:chExt cx="5760085" cy="864235"/>
            </a:xfrm>
          </p:grpSpPr>
          <p:sp>
            <p:nvSpPr>
              <p:cNvPr id="537" name="Google Shape;537;p58"/>
              <p:cNvSpPr/>
              <p:nvPr/>
            </p:nvSpPr>
            <p:spPr>
              <a:xfrm>
                <a:off x="4538262" y="111622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38" name="Google Shape;538;p58"/>
              <p:cNvSpPr/>
              <p:nvPr/>
            </p:nvSpPr>
            <p:spPr>
              <a:xfrm>
                <a:off x="4625778" y="123308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39" name="Google Shape;539;p58"/>
              <p:cNvSpPr/>
              <p:nvPr/>
            </p:nvSpPr>
            <p:spPr>
              <a:xfrm>
                <a:off x="9467596" y="111622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40" name="Google Shape;540;p58"/>
              <p:cNvSpPr/>
              <p:nvPr/>
            </p:nvSpPr>
            <p:spPr>
              <a:xfrm>
                <a:off x="9555111" y="123308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41" name="Google Shape;541;p58"/>
              <p:cNvSpPr/>
              <p:nvPr/>
            </p:nvSpPr>
            <p:spPr>
              <a:xfrm>
                <a:off x="4418708" y="1025419"/>
                <a:ext cx="5760085" cy="864235"/>
              </a:xfrm>
              <a:custGeom>
                <a:avLst/>
                <a:gdLst/>
                <a:ahLst/>
                <a:cxnLst/>
                <a:rect l="l" t="t" r="r" b="b"/>
                <a:pathLst>
                  <a:path w="5760084" h="864235" extrusionOk="0">
                    <a:moveTo>
                      <a:pt x="0" y="0"/>
                    </a:moveTo>
                    <a:lnTo>
                      <a:pt x="5759998" y="0"/>
                    </a:lnTo>
                    <a:lnTo>
                      <a:pt x="5759998" y="863999"/>
                    </a:lnTo>
                    <a:lnTo>
                      <a:pt x="0" y="863999"/>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grpSp>
      </p:grpSp>
      <p:grpSp>
        <p:nvGrpSpPr>
          <p:cNvPr id="542" name="Google Shape;542;p58"/>
          <p:cNvGrpSpPr/>
          <p:nvPr/>
        </p:nvGrpSpPr>
        <p:grpSpPr>
          <a:xfrm>
            <a:off x="97432" y="2322258"/>
            <a:ext cx="8286473" cy="1763141"/>
            <a:chOff x="129910" y="3096344"/>
            <a:chExt cx="11048630" cy="2350854"/>
          </a:xfrm>
        </p:grpSpPr>
        <p:sp>
          <p:nvSpPr>
            <p:cNvPr id="543" name="Google Shape;543;p58"/>
            <p:cNvSpPr/>
            <p:nvPr/>
          </p:nvSpPr>
          <p:spPr>
            <a:xfrm>
              <a:off x="4282568" y="318491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44" name="Google Shape;544;p58"/>
            <p:cNvSpPr/>
            <p:nvPr/>
          </p:nvSpPr>
          <p:spPr>
            <a:xfrm>
              <a:off x="5267524" y="318491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45" name="Google Shape;545;p58"/>
            <p:cNvSpPr/>
            <p:nvPr/>
          </p:nvSpPr>
          <p:spPr>
            <a:xfrm>
              <a:off x="6252480"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46" name="Google Shape;546;p58"/>
            <p:cNvSpPr/>
            <p:nvPr/>
          </p:nvSpPr>
          <p:spPr>
            <a:xfrm>
              <a:off x="7237436"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47" name="Google Shape;547;p58"/>
            <p:cNvSpPr/>
            <p:nvPr/>
          </p:nvSpPr>
          <p:spPr>
            <a:xfrm>
              <a:off x="8222391"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48" name="Google Shape;548;p58"/>
            <p:cNvSpPr/>
            <p:nvPr/>
          </p:nvSpPr>
          <p:spPr>
            <a:xfrm>
              <a:off x="9207347"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49" name="Google Shape;549;p58"/>
            <p:cNvSpPr/>
            <p:nvPr/>
          </p:nvSpPr>
          <p:spPr>
            <a:xfrm>
              <a:off x="10192302"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grpSp>
          <p:nvGrpSpPr>
            <p:cNvPr id="550" name="Google Shape;550;p58"/>
            <p:cNvGrpSpPr/>
            <p:nvPr/>
          </p:nvGrpSpPr>
          <p:grpSpPr>
            <a:xfrm>
              <a:off x="129910" y="3096344"/>
              <a:ext cx="11048630" cy="2350854"/>
              <a:chOff x="129910" y="3096344"/>
              <a:chExt cx="11048630" cy="2350854"/>
            </a:xfrm>
          </p:grpSpPr>
          <p:sp>
            <p:nvSpPr>
              <p:cNvPr id="551" name="Google Shape;551;p58"/>
              <p:cNvSpPr txBox="1"/>
              <p:nvPr/>
            </p:nvSpPr>
            <p:spPr>
              <a:xfrm>
                <a:off x="129910" y="4203268"/>
                <a:ext cx="3678000" cy="1243930"/>
              </a:xfrm>
              <a:prstGeom prst="rect">
                <a:avLst/>
              </a:prstGeom>
              <a:noFill/>
              <a:ln>
                <a:noFill/>
              </a:ln>
            </p:spPr>
            <p:txBody>
              <a:bodyPr spcFirstLastPara="1" wrap="square" lIns="0" tIns="9525" rIns="0" bIns="0" anchor="t" anchorCtr="0">
                <a:spAutoFit/>
              </a:bodyPr>
              <a:lstStyle/>
              <a:p>
                <a:pPr marL="9049" marR="3810" indent="476" algn="ctr"/>
                <a:r>
                  <a:rPr lang="en-IN" sz="1500" dirty="0">
                    <a:solidFill>
                      <a:srgbClr val="2BA6ED"/>
                    </a:solidFill>
                    <a:latin typeface="Arial" panose="020B0604020202020204" pitchFamily="34" charset="0"/>
                    <a:ea typeface="Proxima Nova"/>
                    <a:cs typeface="Arial" panose="020B0604020202020204" pitchFamily="34" charset="0"/>
                    <a:sym typeface="Proxima Nova"/>
                  </a:rPr>
                  <a:t>User Tasks ("Walking Skeleton“)  </a:t>
                </a:r>
                <a:r>
                  <a:rPr lang="en-IN" sz="1500" dirty="0">
                    <a:solidFill>
                      <a:srgbClr val="454646"/>
                    </a:solidFill>
                    <a:latin typeface="Arial" panose="020B0604020202020204" pitchFamily="34" charset="0"/>
                    <a:ea typeface="Proxima Nova"/>
                    <a:cs typeface="Arial" panose="020B0604020202020204" pitchFamily="34" charset="0"/>
                    <a:sym typeface="Proxima Nova"/>
                  </a:rPr>
                  <a:t>Things a user does to achieve a goal.  Starts with a verb, e.g., </a:t>
                </a:r>
                <a:r>
                  <a:rPr lang="en-IN" sz="1500" i="1" dirty="0">
                    <a:solidFill>
                      <a:srgbClr val="454646"/>
                    </a:solidFill>
                    <a:latin typeface="Arial" panose="020B0604020202020204" pitchFamily="34" charset="0"/>
                    <a:ea typeface="Proxima Nova"/>
                    <a:cs typeface="Arial" panose="020B0604020202020204" pitchFamily="34" charset="0"/>
                    <a:sym typeface="Proxima Nova"/>
                  </a:rPr>
                  <a:t>"Send Email“</a:t>
                </a:r>
                <a:r>
                  <a:rPr lang="en-IN" sz="1500" dirty="0">
                    <a:solidFill>
                      <a:srgbClr val="454646"/>
                    </a:solidFill>
                    <a:latin typeface="Arial" panose="020B0604020202020204" pitchFamily="34" charset="0"/>
                    <a:ea typeface="Proxima Nova"/>
                    <a:cs typeface="Arial" panose="020B0604020202020204" pitchFamily="34" charset="0"/>
                    <a:sym typeface="Proxima Nova"/>
                  </a:rPr>
                  <a:t>.</a:t>
                </a:r>
                <a:endParaRPr sz="1500" dirty="0">
                  <a:latin typeface="Arial" panose="020B0604020202020204" pitchFamily="34" charset="0"/>
                  <a:ea typeface="Proxima Nova"/>
                  <a:cs typeface="Arial" panose="020B0604020202020204" pitchFamily="34" charset="0"/>
                  <a:sym typeface="Proxima Nova"/>
                </a:endParaRPr>
              </a:p>
            </p:txBody>
          </p:sp>
          <p:sp>
            <p:nvSpPr>
              <p:cNvPr id="552" name="Google Shape;552;p58"/>
              <p:cNvSpPr/>
              <p:nvPr/>
            </p:nvSpPr>
            <p:spPr>
              <a:xfrm>
                <a:off x="2666345" y="3438550"/>
                <a:ext cx="1155700" cy="740410"/>
              </a:xfrm>
              <a:custGeom>
                <a:avLst/>
                <a:gdLst/>
                <a:ahLst/>
                <a:cxnLst/>
                <a:rect l="l" t="t" r="r" b="b"/>
                <a:pathLst>
                  <a:path w="1155700" h="740410" extrusionOk="0">
                    <a:moveTo>
                      <a:pt x="1145538" y="31361"/>
                    </a:moveTo>
                    <a:lnTo>
                      <a:pt x="1091373" y="31361"/>
                    </a:lnTo>
                    <a:lnTo>
                      <a:pt x="1091968" y="44047"/>
                    </a:lnTo>
                    <a:lnTo>
                      <a:pt x="1079282" y="44644"/>
                    </a:lnTo>
                    <a:lnTo>
                      <a:pt x="1080113" y="76166"/>
                    </a:lnTo>
                    <a:lnTo>
                      <a:pt x="1155142" y="35810"/>
                    </a:lnTo>
                    <a:lnTo>
                      <a:pt x="1145538" y="31361"/>
                    </a:lnTo>
                    <a:close/>
                  </a:path>
                  <a:path w="1155700" h="740410" extrusionOk="0">
                    <a:moveTo>
                      <a:pt x="1078980" y="38198"/>
                    </a:moveTo>
                    <a:lnTo>
                      <a:pt x="1079172" y="44644"/>
                    </a:lnTo>
                    <a:lnTo>
                      <a:pt x="1078980" y="38198"/>
                    </a:lnTo>
                    <a:close/>
                  </a:path>
                  <a:path w="1155700" h="740410" extrusionOk="0">
                    <a:moveTo>
                      <a:pt x="1091373" y="31361"/>
                    </a:moveTo>
                    <a:lnTo>
                      <a:pt x="1078793" y="31953"/>
                    </a:lnTo>
                    <a:lnTo>
                      <a:pt x="1078980" y="38198"/>
                    </a:lnTo>
                    <a:lnTo>
                      <a:pt x="1079282" y="44644"/>
                    </a:lnTo>
                    <a:lnTo>
                      <a:pt x="1091968" y="44047"/>
                    </a:lnTo>
                    <a:lnTo>
                      <a:pt x="1091373" y="31361"/>
                    </a:lnTo>
                    <a:close/>
                  </a:path>
                  <a:path w="1155700" h="740410" extrusionOk="0">
                    <a:moveTo>
                      <a:pt x="1078793" y="31953"/>
                    </a:moveTo>
                    <a:lnTo>
                      <a:pt x="1078980" y="38198"/>
                    </a:lnTo>
                    <a:lnTo>
                      <a:pt x="1078793" y="31953"/>
                    </a:lnTo>
                    <a:close/>
                  </a:path>
                  <a:path w="1155700" h="740410" extrusionOk="0">
                    <a:moveTo>
                      <a:pt x="1077840" y="0"/>
                    </a:moveTo>
                    <a:lnTo>
                      <a:pt x="1078793" y="31953"/>
                    </a:lnTo>
                    <a:lnTo>
                      <a:pt x="1091373" y="31361"/>
                    </a:lnTo>
                    <a:lnTo>
                      <a:pt x="1145538" y="31361"/>
                    </a:lnTo>
                    <a:lnTo>
                      <a:pt x="1077840" y="0"/>
                    </a:lnTo>
                    <a:close/>
                  </a:path>
                  <a:path w="1155700" h="740410" extrusionOk="0">
                    <a:moveTo>
                      <a:pt x="1040391" y="33957"/>
                    </a:moveTo>
                    <a:lnTo>
                      <a:pt x="1027738" y="35054"/>
                    </a:lnTo>
                    <a:lnTo>
                      <a:pt x="1028835" y="47706"/>
                    </a:lnTo>
                    <a:lnTo>
                      <a:pt x="1041487" y="46610"/>
                    </a:lnTo>
                    <a:lnTo>
                      <a:pt x="1040391" y="33957"/>
                    </a:lnTo>
                    <a:close/>
                  </a:path>
                  <a:path w="1155700" h="740410" extrusionOk="0">
                    <a:moveTo>
                      <a:pt x="989578" y="38425"/>
                    </a:moveTo>
                    <a:lnTo>
                      <a:pt x="976970" y="39937"/>
                    </a:lnTo>
                    <a:lnTo>
                      <a:pt x="978482" y="52547"/>
                    </a:lnTo>
                    <a:lnTo>
                      <a:pt x="991092" y="51034"/>
                    </a:lnTo>
                    <a:lnTo>
                      <a:pt x="989578" y="38425"/>
                    </a:lnTo>
                    <a:close/>
                  </a:path>
                  <a:path w="1155700" h="740410" extrusionOk="0">
                    <a:moveTo>
                      <a:pt x="939140" y="44477"/>
                    </a:moveTo>
                    <a:lnTo>
                      <a:pt x="938326" y="44575"/>
                    </a:lnTo>
                    <a:lnTo>
                      <a:pt x="926377" y="46412"/>
                    </a:lnTo>
                    <a:lnTo>
                      <a:pt x="928306" y="58964"/>
                    </a:lnTo>
                    <a:lnTo>
                      <a:pt x="939963" y="57172"/>
                    </a:lnTo>
                    <a:lnTo>
                      <a:pt x="940654" y="57087"/>
                    </a:lnTo>
                    <a:lnTo>
                      <a:pt x="939140" y="44477"/>
                    </a:lnTo>
                    <a:close/>
                  </a:path>
                  <a:path w="1155700" h="740410" extrusionOk="0">
                    <a:moveTo>
                      <a:pt x="888719" y="52200"/>
                    </a:moveTo>
                    <a:lnTo>
                      <a:pt x="885972" y="52623"/>
                    </a:lnTo>
                    <a:lnTo>
                      <a:pt x="876014" y="54494"/>
                    </a:lnTo>
                    <a:lnTo>
                      <a:pt x="878361" y="66975"/>
                    </a:lnTo>
                    <a:lnTo>
                      <a:pt x="888024" y="65159"/>
                    </a:lnTo>
                    <a:lnTo>
                      <a:pt x="890648" y="64753"/>
                    </a:lnTo>
                    <a:lnTo>
                      <a:pt x="888719" y="52200"/>
                    </a:lnTo>
                    <a:close/>
                  </a:path>
                  <a:path w="1155700" h="740410" extrusionOk="0">
                    <a:moveTo>
                      <a:pt x="838570" y="61532"/>
                    </a:moveTo>
                    <a:lnTo>
                      <a:pt x="834473" y="62302"/>
                    </a:lnTo>
                    <a:lnTo>
                      <a:pt x="825939" y="64206"/>
                    </a:lnTo>
                    <a:lnTo>
                      <a:pt x="828701" y="76601"/>
                    </a:lnTo>
                    <a:lnTo>
                      <a:pt x="836939" y="74764"/>
                    </a:lnTo>
                    <a:lnTo>
                      <a:pt x="840916" y="74014"/>
                    </a:lnTo>
                    <a:lnTo>
                      <a:pt x="838570" y="61532"/>
                    </a:lnTo>
                    <a:close/>
                  </a:path>
                  <a:path w="1155700" h="740410" extrusionOk="0">
                    <a:moveTo>
                      <a:pt x="788751" y="72494"/>
                    </a:moveTo>
                    <a:lnTo>
                      <a:pt x="783893" y="73576"/>
                    </a:lnTo>
                    <a:lnTo>
                      <a:pt x="776208" y="75563"/>
                    </a:lnTo>
                    <a:lnTo>
                      <a:pt x="779388" y="87859"/>
                    </a:lnTo>
                    <a:lnTo>
                      <a:pt x="786779" y="85948"/>
                    </a:lnTo>
                    <a:lnTo>
                      <a:pt x="791514" y="84889"/>
                    </a:lnTo>
                    <a:lnTo>
                      <a:pt x="788751" y="72494"/>
                    </a:lnTo>
                    <a:close/>
                  </a:path>
                  <a:path w="1155700" h="740410" extrusionOk="0">
                    <a:moveTo>
                      <a:pt x="739322" y="85103"/>
                    </a:moveTo>
                    <a:lnTo>
                      <a:pt x="734292" y="86405"/>
                    </a:lnTo>
                    <a:lnTo>
                      <a:pt x="726887" y="88592"/>
                    </a:lnTo>
                    <a:lnTo>
                      <a:pt x="730486" y="100771"/>
                    </a:lnTo>
                    <a:lnTo>
                      <a:pt x="737588" y="98673"/>
                    </a:lnTo>
                    <a:lnTo>
                      <a:pt x="742502" y="97400"/>
                    </a:lnTo>
                    <a:lnTo>
                      <a:pt x="739322" y="85103"/>
                    </a:lnTo>
                    <a:close/>
                  </a:path>
                  <a:path w="1155700" h="740410" extrusionOk="0">
                    <a:moveTo>
                      <a:pt x="690349" y="99386"/>
                    </a:moveTo>
                    <a:lnTo>
                      <a:pt x="685727" y="100751"/>
                    </a:lnTo>
                    <a:lnTo>
                      <a:pt x="678042" y="103314"/>
                    </a:lnTo>
                    <a:lnTo>
                      <a:pt x="682059" y="115362"/>
                    </a:lnTo>
                    <a:lnTo>
                      <a:pt x="689442" y="112900"/>
                    </a:lnTo>
                    <a:lnTo>
                      <a:pt x="693947" y="111566"/>
                    </a:lnTo>
                    <a:lnTo>
                      <a:pt x="690349" y="99386"/>
                    </a:lnTo>
                    <a:close/>
                  </a:path>
                  <a:path w="1155700" h="740410" extrusionOk="0">
                    <a:moveTo>
                      <a:pt x="641898" y="115366"/>
                    </a:moveTo>
                    <a:lnTo>
                      <a:pt x="638262" y="116578"/>
                    </a:lnTo>
                    <a:lnTo>
                      <a:pt x="629746" y="119754"/>
                    </a:lnTo>
                    <a:lnTo>
                      <a:pt x="634183" y="131654"/>
                    </a:lnTo>
                    <a:lnTo>
                      <a:pt x="642398" y="128591"/>
                    </a:lnTo>
                    <a:lnTo>
                      <a:pt x="645915" y="127414"/>
                    </a:lnTo>
                    <a:lnTo>
                      <a:pt x="641898" y="115366"/>
                    </a:lnTo>
                    <a:close/>
                  </a:path>
                  <a:path w="1155700" h="740410" extrusionOk="0">
                    <a:moveTo>
                      <a:pt x="594047" y="133068"/>
                    </a:moveTo>
                    <a:lnTo>
                      <a:pt x="591955" y="133847"/>
                    </a:lnTo>
                    <a:lnTo>
                      <a:pt x="582075" y="137939"/>
                    </a:lnTo>
                    <a:lnTo>
                      <a:pt x="586934" y="149673"/>
                    </a:lnTo>
                    <a:lnTo>
                      <a:pt x="596508" y="145708"/>
                    </a:lnTo>
                    <a:lnTo>
                      <a:pt x="598484" y="144967"/>
                    </a:lnTo>
                    <a:lnTo>
                      <a:pt x="594047" y="133068"/>
                    </a:lnTo>
                    <a:close/>
                  </a:path>
                  <a:path w="1155700" h="740410" extrusionOk="0">
                    <a:moveTo>
                      <a:pt x="546663" y="152614"/>
                    </a:moveTo>
                    <a:lnTo>
                      <a:pt x="535115" y="157897"/>
                    </a:lnTo>
                    <a:lnTo>
                      <a:pt x="540398" y="169447"/>
                    </a:lnTo>
                    <a:lnTo>
                      <a:pt x="551947" y="164164"/>
                    </a:lnTo>
                    <a:lnTo>
                      <a:pt x="546663" y="152614"/>
                    </a:lnTo>
                    <a:close/>
                  </a:path>
                  <a:path w="1155700" h="740410" extrusionOk="0">
                    <a:moveTo>
                      <a:pt x="500303" y="173949"/>
                    </a:moveTo>
                    <a:lnTo>
                      <a:pt x="488958" y="179658"/>
                    </a:lnTo>
                    <a:lnTo>
                      <a:pt x="494667" y="191002"/>
                    </a:lnTo>
                    <a:lnTo>
                      <a:pt x="506012" y="185294"/>
                    </a:lnTo>
                    <a:lnTo>
                      <a:pt x="500303" y="173949"/>
                    </a:lnTo>
                    <a:close/>
                  </a:path>
                  <a:path w="1155700" h="740410" extrusionOk="0">
                    <a:moveTo>
                      <a:pt x="454826" y="197114"/>
                    </a:moveTo>
                    <a:lnTo>
                      <a:pt x="443706" y="203249"/>
                    </a:lnTo>
                    <a:lnTo>
                      <a:pt x="449842" y="214369"/>
                    </a:lnTo>
                    <a:lnTo>
                      <a:pt x="460961" y="208234"/>
                    </a:lnTo>
                    <a:lnTo>
                      <a:pt x="454826" y="197114"/>
                    </a:lnTo>
                    <a:close/>
                  </a:path>
                  <a:path w="1155700" h="740410" extrusionOk="0">
                    <a:moveTo>
                      <a:pt x="410340" y="222139"/>
                    </a:moveTo>
                    <a:lnTo>
                      <a:pt x="399469" y="228704"/>
                    </a:lnTo>
                    <a:lnTo>
                      <a:pt x="406034" y="239576"/>
                    </a:lnTo>
                    <a:lnTo>
                      <a:pt x="416905" y="233011"/>
                    </a:lnTo>
                    <a:lnTo>
                      <a:pt x="410340" y="222139"/>
                    </a:lnTo>
                    <a:close/>
                  </a:path>
                  <a:path w="1155700" h="740410" extrusionOk="0">
                    <a:moveTo>
                      <a:pt x="366969" y="249057"/>
                    </a:moveTo>
                    <a:lnTo>
                      <a:pt x="356368" y="256052"/>
                    </a:lnTo>
                    <a:lnTo>
                      <a:pt x="363363" y="266651"/>
                    </a:lnTo>
                    <a:lnTo>
                      <a:pt x="373964" y="259656"/>
                    </a:lnTo>
                    <a:lnTo>
                      <a:pt x="366969" y="249057"/>
                    </a:lnTo>
                    <a:close/>
                  </a:path>
                  <a:path w="1155700" h="740410" extrusionOk="0">
                    <a:moveTo>
                      <a:pt x="324841" y="277893"/>
                    </a:moveTo>
                    <a:lnTo>
                      <a:pt x="314538" y="285319"/>
                    </a:lnTo>
                    <a:lnTo>
                      <a:pt x="321965" y="295621"/>
                    </a:lnTo>
                    <a:lnTo>
                      <a:pt x="332267" y="288196"/>
                    </a:lnTo>
                    <a:lnTo>
                      <a:pt x="324841" y="277893"/>
                    </a:lnTo>
                    <a:close/>
                  </a:path>
                  <a:path w="1155700" h="740410" extrusionOk="0">
                    <a:moveTo>
                      <a:pt x="284105" y="308676"/>
                    </a:moveTo>
                    <a:lnTo>
                      <a:pt x="274128" y="316533"/>
                    </a:lnTo>
                    <a:lnTo>
                      <a:pt x="281985" y="326510"/>
                    </a:lnTo>
                    <a:lnTo>
                      <a:pt x="291962" y="318651"/>
                    </a:lnTo>
                    <a:lnTo>
                      <a:pt x="284105" y="308676"/>
                    </a:lnTo>
                    <a:close/>
                  </a:path>
                  <a:path w="1155700" h="740410" extrusionOk="0">
                    <a:moveTo>
                      <a:pt x="244919" y="341424"/>
                    </a:moveTo>
                    <a:lnTo>
                      <a:pt x="237308" y="347981"/>
                    </a:lnTo>
                    <a:lnTo>
                      <a:pt x="235168" y="350000"/>
                    </a:lnTo>
                    <a:lnTo>
                      <a:pt x="243885" y="359236"/>
                    </a:lnTo>
                    <a:lnTo>
                      <a:pt x="245716" y="357508"/>
                    </a:lnTo>
                    <a:lnTo>
                      <a:pt x="253208" y="351047"/>
                    </a:lnTo>
                    <a:lnTo>
                      <a:pt x="244919" y="341424"/>
                    </a:lnTo>
                    <a:close/>
                  </a:path>
                  <a:path w="1155700" h="740410" extrusionOk="0">
                    <a:moveTo>
                      <a:pt x="207462" y="376153"/>
                    </a:moveTo>
                    <a:lnTo>
                      <a:pt x="205916" y="377612"/>
                    </a:lnTo>
                    <a:lnTo>
                      <a:pt x="198368" y="385439"/>
                    </a:lnTo>
                    <a:lnTo>
                      <a:pt x="207511" y="394254"/>
                    </a:lnTo>
                    <a:lnTo>
                      <a:pt x="214753" y="386745"/>
                    </a:lnTo>
                    <a:lnTo>
                      <a:pt x="216179" y="385389"/>
                    </a:lnTo>
                    <a:lnTo>
                      <a:pt x="207462" y="376153"/>
                    </a:lnTo>
                    <a:close/>
                  </a:path>
                  <a:path w="1155700" h="740410" extrusionOk="0">
                    <a:moveTo>
                      <a:pt x="171949" y="413311"/>
                    </a:moveTo>
                    <a:lnTo>
                      <a:pt x="163589" y="422871"/>
                    </a:lnTo>
                    <a:lnTo>
                      <a:pt x="173151" y="431231"/>
                    </a:lnTo>
                    <a:lnTo>
                      <a:pt x="181510" y="421670"/>
                    </a:lnTo>
                    <a:lnTo>
                      <a:pt x="171949" y="413311"/>
                    </a:lnTo>
                    <a:close/>
                  </a:path>
                  <a:path w="1155700" h="740410" extrusionOk="0">
                    <a:moveTo>
                      <a:pt x="138913" y="452306"/>
                    </a:moveTo>
                    <a:lnTo>
                      <a:pt x="131048" y="462277"/>
                    </a:lnTo>
                    <a:lnTo>
                      <a:pt x="141019" y="470142"/>
                    </a:lnTo>
                    <a:lnTo>
                      <a:pt x="148885" y="460171"/>
                    </a:lnTo>
                    <a:lnTo>
                      <a:pt x="138913" y="452306"/>
                    </a:lnTo>
                    <a:close/>
                  </a:path>
                  <a:path w="1155700" h="740410" extrusionOk="0">
                    <a:moveTo>
                      <a:pt x="108309" y="493246"/>
                    </a:moveTo>
                    <a:lnTo>
                      <a:pt x="100976" y="503614"/>
                    </a:lnTo>
                    <a:lnTo>
                      <a:pt x="111344" y="510947"/>
                    </a:lnTo>
                    <a:lnTo>
                      <a:pt x="118677" y="500579"/>
                    </a:lnTo>
                    <a:lnTo>
                      <a:pt x="108309" y="493246"/>
                    </a:lnTo>
                    <a:close/>
                  </a:path>
                  <a:path w="1155700" h="740410" extrusionOk="0">
                    <a:moveTo>
                      <a:pt x="80375" y="536069"/>
                    </a:moveTo>
                    <a:lnTo>
                      <a:pt x="77589" y="540500"/>
                    </a:lnTo>
                    <a:lnTo>
                      <a:pt x="73803" y="547344"/>
                    </a:lnTo>
                    <a:lnTo>
                      <a:pt x="84916" y="553491"/>
                    </a:lnTo>
                    <a:lnTo>
                      <a:pt x="88445" y="547110"/>
                    </a:lnTo>
                    <a:lnTo>
                      <a:pt x="91126" y="542829"/>
                    </a:lnTo>
                    <a:lnTo>
                      <a:pt x="80375" y="536069"/>
                    </a:lnTo>
                    <a:close/>
                  </a:path>
                  <a:path w="1155700" h="740410" extrusionOk="0">
                    <a:moveTo>
                      <a:pt x="55492" y="581164"/>
                    </a:moveTo>
                    <a:lnTo>
                      <a:pt x="49998" y="592615"/>
                    </a:lnTo>
                    <a:lnTo>
                      <a:pt x="61448" y="598109"/>
                    </a:lnTo>
                    <a:lnTo>
                      <a:pt x="66942" y="586658"/>
                    </a:lnTo>
                    <a:lnTo>
                      <a:pt x="55492" y="581164"/>
                    </a:lnTo>
                    <a:close/>
                  </a:path>
                  <a:path w="1155700" h="740410" extrusionOk="0">
                    <a:moveTo>
                      <a:pt x="34289" y="627722"/>
                    </a:moveTo>
                    <a:lnTo>
                      <a:pt x="29488" y="639480"/>
                    </a:lnTo>
                    <a:lnTo>
                      <a:pt x="41245" y="644282"/>
                    </a:lnTo>
                    <a:lnTo>
                      <a:pt x="46047" y="632524"/>
                    </a:lnTo>
                    <a:lnTo>
                      <a:pt x="34289" y="627722"/>
                    </a:lnTo>
                    <a:close/>
                  </a:path>
                  <a:path w="1155700" h="740410" extrusionOk="0">
                    <a:moveTo>
                      <a:pt x="16578" y="675725"/>
                    </a:moveTo>
                    <a:lnTo>
                      <a:pt x="13026" y="686217"/>
                    </a:lnTo>
                    <a:lnTo>
                      <a:pt x="12499" y="688169"/>
                    </a:lnTo>
                    <a:lnTo>
                      <a:pt x="24759" y="691479"/>
                    </a:lnTo>
                    <a:lnTo>
                      <a:pt x="25132" y="690101"/>
                    </a:lnTo>
                    <a:lnTo>
                      <a:pt x="25234" y="689720"/>
                    </a:lnTo>
                    <a:lnTo>
                      <a:pt x="28608" y="679797"/>
                    </a:lnTo>
                    <a:lnTo>
                      <a:pt x="16578" y="675725"/>
                    </a:lnTo>
                    <a:close/>
                  </a:path>
                  <a:path w="1155700" h="740410" extrusionOk="0">
                    <a:moveTo>
                      <a:pt x="25248" y="689720"/>
                    </a:moveTo>
                    <a:lnTo>
                      <a:pt x="25181" y="689916"/>
                    </a:lnTo>
                    <a:lnTo>
                      <a:pt x="25248" y="689720"/>
                    </a:lnTo>
                    <a:close/>
                  </a:path>
                  <a:path w="1155700" h="740410" extrusionOk="0">
                    <a:moveTo>
                      <a:pt x="2519" y="725357"/>
                    </a:moveTo>
                    <a:lnTo>
                      <a:pt x="0" y="737805"/>
                    </a:lnTo>
                    <a:lnTo>
                      <a:pt x="12447" y="740324"/>
                    </a:lnTo>
                    <a:lnTo>
                      <a:pt x="14966" y="727877"/>
                    </a:lnTo>
                    <a:lnTo>
                      <a:pt x="2519" y="725357"/>
                    </a:lnTo>
                    <a:close/>
                  </a:path>
                </a:pathLst>
              </a:custGeom>
              <a:solidFill>
                <a:srgbClr val="1B2429"/>
              </a:solidFill>
              <a:ln>
                <a:noFill/>
              </a:ln>
            </p:spPr>
            <p:txBody>
              <a:bodyPr spcFirstLastPara="1" wrap="square" lIns="0" tIns="0" rIns="0" bIns="0" anchor="t" anchorCtr="0">
                <a:noAutofit/>
              </a:bodyPr>
              <a:lstStyle/>
              <a:p>
                <a:endParaRPr sz="1050" dirty="0"/>
              </a:p>
            </p:txBody>
          </p:sp>
          <p:sp>
            <p:nvSpPr>
              <p:cNvPr id="553" name="Google Shape;553;p58"/>
              <p:cNvSpPr/>
              <p:nvPr/>
            </p:nvSpPr>
            <p:spPr>
              <a:xfrm>
                <a:off x="4107733" y="3096344"/>
                <a:ext cx="7070807" cy="756285"/>
              </a:xfrm>
              <a:custGeom>
                <a:avLst/>
                <a:gdLst/>
                <a:ahLst/>
                <a:cxnLst/>
                <a:rect l="l" t="t" r="r" b="b"/>
                <a:pathLst>
                  <a:path w="6912609" h="756285" extrusionOk="0">
                    <a:moveTo>
                      <a:pt x="0" y="0"/>
                    </a:moveTo>
                    <a:lnTo>
                      <a:pt x="6912000" y="0"/>
                    </a:lnTo>
                    <a:lnTo>
                      <a:pt x="6912000" y="756000"/>
                    </a:lnTo>
                    <a:lnTo>
                      <a:pt x="0" y="756000"/>
                    </a:lnTo>
                    <a:lnTo>
                      <a:pt x="0" y="0"/>
                    </a:lnTo>
                    <a:close/>
                  </a:path>
                </a:pathLst>
              </a:custGeom>
              <a:noFill/>
              <a:ln w="19050" cap="flat" cmpd="sng">
                <a:solidFill>
                  <a:srgbClr val="FF0000"/>
                </a:solidFill>
                <a:prstDash val="dash"/>
                <a:round/>
                <a:headEnd type="none" w="sm" len="sm"/>
                <a:tailEnd type="none" w="sm" len="sm"/>
              </a:ln>
            </p:spPr>
            <p:txBody>
              <a:bodyPr spcFirstLastPara="1" wrap="square" lIns="0" tIns="0" rIns="0" bIns="0" anchor="t" anchorCtr="0">
                <a:noAutofit/>
              </a:bodyPr>
              <a:lstStyle/>
              <a:p>
                <a:endParaRPr sz="1050" dirty="0"/>
              </a:p>
            </p:txBody>
          </p:sp>
        </p:grpSp>
      </p:grpSp>
      <p:grpSp>
        <p:nvGrpSpPr>
          <p:cNvPr id="554" name="Google Shape;554;p58"/>
          <p:cNvGrpSpPr/>
          <p:nvPr/>
        </p:nvGrpSpPr>
        <p:grpSpPr>
          <a:xfrm>
            <a:off x="643117" y="2374183"/>
            <a:ext cx="1486125" cy="829167"/>
            <a:chOff x="481189" y="3429000"/>
            <a:chExt cx="1981500" cy="1105555"/>
          </a:xfrm>
        </p:grpSpPr>
        <p:cxnSp>
          <p:nvCxnSpPr>
            <p:cNvPr id="555" name="Google Shape;555;p58"/>
            <p:cNvCxnSpPr/>
            <p:nvPr/>
          </p:nvCxnSpPr>
          <p:spPr>
            <a:xfrm>
              <a:off x="481189" y="3429000"/>
              <a:ext cx="1899468" cy="0"/>
            </a:xfrm>
            <a:prstGeom prst="straightConnector1">
              <a:avLst/>
            </a:prstGeom>
            <a:noFill/>
            <a:ln w="19050" cap="flat" cmpd="sng">
              <a:solidFill>
                <a:srgbClr val="EB792A"/>
              </a:solidFill>
              <a:prstDash val="solid"/>
              <a:round/>
              <a:headEnd type="none" w="sm" len="sm"/>
              <a:tailEnd type="stealth" w="med" len="med"/>
            </a:ln>
          </p:spPr>
        </p:cxnSp>
        <p:sp>
          <p:nvSpPr>
            <p:cNvPr id="556" name="Google Shape;556;p58"/>
            <p:cNvSpPr txBox="1"/>
            <p:nvPr/>
          </p:nvSpPr>
          <p:spPr>
            <a:xfrm>
              <a:off x="481189" y="3565099"/>
              <a:ext cx="1981500" cy="969456"/>
            </a:xfrm>
            <a:prstGeom prst="rect">
              <a:avLst/>
            </a:prstGeom>
            <a:noFill/>
            <a:ln>
              <a:noFill/>
            </a:ln>
          </p:spPr>
          <p:txBody>
            <a:bodyPr spcFirstLastPara="1" wrap="square" lIns="68569" tIns="34275" rIns="68569" bIns="34275" anchor="t" anchorCtr="0">
              <a:spAutoFit/>
            </a:bodyPr>
            <a:lstStyle/>
            <a:p>
              <a:r>
                <a:rPr lang="en-IN" sz="1425" dirty="0">
                  <a:latin typeface="Arial" panose="020B0604020202020204" pitchFamily="34" charset="0"/>
                  <a:ea typeface="Proxima Nova"/>
                  <a:cs typeface="Arial" panose="020B0604020202020204" pitchFamily="34" charset="0"/>
                  <a:sym typeface="Proxima Nova"/>
                </a:rPr>
                <a:t>Go this way First, i.e., breadth</a:t>
              </a:r>
              <a:endParaRPr sz="1425" dirty="0">
                <a:latin typeface="Arial" panose="020B0604020202020204" pitchFamily="34" charset="0"/>
                <a:ea typeface="Proxima Nova"/>
                <a:cs typeface="Arial" panose="020B0604020202020204" pitchFamily="34" charset="0"/>
                <a:sym typeface="Proxima Nova"/>
              </a:endParaRPr>
            </a:p>
          </p:txBody>
        </p:sp>
      </p:grpSp>
      <p:sp>
        <p:nvSpPr>
          <p:cNvPr id="557" name="Google Shape;557;p58"/>
          <p:cNvSpPr txBox="1">
            <a:spLocks noGrp="1"/>
          </p:cNvSpPr>
          <p:nvPr>
            <p:ph type="sldNum" idx="12"/>
          </p:nvPr>
        </p:nvSpPr>
        <p:spPr>
          <a:xfrm>
            <a:off x="8556784" y="4749851"/>
            <a:ext cx="548775" cy="393525"/>
          </a:xfrm>
          <a:prstGeom prst="rect">
            <a:avLst/>
          </a:prstGeom>
        </p:spPr>
        <p:txBody>
          <a:bodyPr spcFirstLastPara="1" wrap="square" lIns="91425" tIns="91425" rIns="91425" bIns="91425" anchor="t" anchorCtr="0">
            <a:noAutofit/>
          </a:bodyPr>
          <a:lstStyle/>
          <a:p>
            <a:pPr>
              <a:buSzPts val="1700"/>
            </a:pPr>
            <a:fld id="{00000000-1234-1234-1234-123412341234}" type="slidenum">
              <a:rPr lang="en-IN"/>
              <a:pPr>
                <a:buSzPts val="1700"/>
              </a:pPr>
              <a:t>26</a:t>
            </a:fld>
            <a:endParaRPr dirty="0"/>
          </a:p>
        </p:txBody>
      </p:sp>
      <p:pic>
        <p:nvPicPr>
          <p:cNvPr id="2" name="Graphic 1" descr="Lock with solid fill">
            <a:extLst>
              <a:ext uri="{FF2B5EF4-FFF2-40B4-BE49-F238E27FC236}">
                <a16:creationId xmlns:a16="http://schemas.microsoft.com/office/drawing/2014/main" id="{8C601795-EC12-7C18-1719-24D53B0848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1924" y="2442006"/>
            <a:ext cx="301034" cy="301034"/>
          </a:xfrm>
          <a:prstGeom prst="rect">
            <a:avLst/>
          </a:prstGeom>
        </p:spPr>
      </p:pic>
      <p:pic>
        <p:nvPicPr>
          <p:cNvPr id="3" name="Graphic 2" descr="Lock with solid fill">
            <a:extLst>
              <a:ext uri="{FF2B5EF4-FFF2-40B4-BE49-F238E27FC236}">
                <a16:creationId xmlns:a16="http://schemas.microsoft.com/office/drawing/2014/main" id="{6F86E842-3717-00F6-BF88-44248F4628A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0641" y="2450214"/>
            <a:ext cx="301034" cy="301034"/>
          </a:xfrm>
          <a:prstGeom prst="rect">
            <a:avLst/>
          </a:prstGeom>
        </p:spPr>
      </p:pic>
      <p:pic>
        <p:nvPicPr>
          <p:cNvPr id="4" name="Graphic 3" descr="Lock with solid fill">
            <a:extLst>
              <a:ext uri="{FF2B5EF4-FFF2-40B4-BE49-F238E27FC236}">
                <a16:creationId xmlns:a16="http://schemas.microsoft.com/office/drawing/2014/main" id="{78BA398A-97C0-6DFA-8FB2-47DD8B7600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46037" y="2465907"/>
            <a:ext cx="301034" cy="301034"/>
          </a:xfrm>
          <a:prstGeom prst="rect">
            <a:avLst/>
          </a:prstGeom>
        </p:spPr>
      </p:pic>
      <p:pic>
        <p:nvPicPr>
          <p:cNvPr id="5" name="Graphic 4" descr="Lock with solid fill">
            <a:extLst>
              <a:ext uri="{FF2B5EF4-FFF2-40B4-BE49-F238E27FC236}">
                <a16:creationId xmlns:a16="http://schemas.microsoft.com/office/drawing/2014/main" id="{CC634691-1E1E-8434-9C91-E01C626BDF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87771" y="2465907"/>
            <a:ext cx="301034" cy="301034"/>
          </a:xfrm>
          <a:prstGeom prst="rect">
            <a:avLst/>
          </a:prstGeom>
        </p:spPr>
      </p:pic>
      <p:pic>
        <p:nvPicPr>
          <p:cNvPr id="6" name="Graphic 5" descr="Lock with solid fill">
            <a:extLst>
              <a:ext uri="{FF2B5EF4-FFF2-40B4-BE49-F238E27FC236}">
                <a16:creationId xmlns:a16="http://schemas.microsoft.com/office/drawing/2014/main" id="{00BFC8AB-5EC5-3279-87C9-E030A69DEC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26791" y="2465907"/>
            <a:ext cx="301034" cy="301034"/>
          </a:xfrm>
          <a:prstGeom prst="rect">
            <a:avLst/>
          </a:prstGeom>
        </p:spPr>
      </p:pic>
      <p:pic>
        <p:nvPicPr>
          <p:cNvPr id="7" name="Graphic 6" descr="Lock with solid fill">
            <a:extLst>
              <a:ext uri="{FF2B5EF4-FFF2-40B4-BE49-F238E27FC236}">
                <a16:creationId xmlns:a16="http://schemas.microsoft.com/office/drawing/2014/main" id="{9F938BB2-3614-EB2A-F4B7-8AD540983C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5508" y="2461021"/>
            <a:ext cx="301034" cy="301034"/>
          </a:xfrm>
          <a:prstGeom prst="rect">
            <a:avLst/>
          </a:prstGeom>
        </p:spPr>
      </p:pic>
      <p:pic>
        <p:nvPicPr>
          <p:cNvPr id="8" name="Graphic 7" descr="Lock with solid fill">
            <a:extLst>
              <a:ext uri="{FF2B5EF4-FFF2-40B4-BE49-F238E27FC236}">
                <a16:creationId xmlns:a16="http://schemas.microsoft.com/office/drawing/2014/main" id="{717C4F0A-F37A-86B1-84D9-56B040E63B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4224" y="2470459"/>
            <a:ext cx="301034" cy="30103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61"/>
        <p:cNvGrpSpPr/>
        <p:nvPr/>
      </p:nvGrpSpPr>
      <p:grpSpPr>
        <a:xfrm>
          <a:off x="0" y="0"/>
          <a:ext cx="0" cy="0"/>
          <a:chOff x="0" y="0"/>
          <a:chExt cx="0" cy="0"/>
        </a:xfrm>
      </p:grpSpPr>
      <p:sp>
        <p:nvSpPr>
          <p:cNvPr id="562" name="Google Shape;562;p59"/>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3200"/>
            </a:pPr>
            <a:r>
              <a:rPr lang="en-IN" dirty="0">
                <a:latin typeface="Arial" panose="020B0604020202020204" pitchFamily="34" charset="0"/>
                <a:ea typeface="Helvetica Neue"/>
                <a:cs typeface="Arial" panose="020B0604020202020204" pitchFamily="34" charset="0"/>
                <a:sym typeface="Helvetica Neue"/>
              </a:rPr>
              <a:t>Anatomy Of A Map</a:t>
            </a:r>
            <a:endParaRPr dirty="0">
              <a:latin typeface="Arial" panose="020B0604020202020204" pitchFamily="34" charset="0"/>
              <a:ea typeface="Helvetica Neue"/>
              <a:cs typeface="Arial" panose="020B0604020202020204" pitchFamily="34" charset="0"/>
              <a:sym typeface="Helvetica Neue"/>
            </a:endParaRPr>
          </a:p>
        </p:txBody>
      </p:sp>
      <p:grpSp>
        <p:nvGrpSpPr>
          <p:cNvPr id="563" name="Google Shape;563;p59"/>
          <p:cNvGrpSpPr/>
          <p:nvPr/>
        </p:nvGrpSpPr>
        <p:grpSpPr>
          <a:xfrm>
            <a:off x="2965743" y="1115099"/>
            <a:ext cx="5535454" cy="3744341"/>
            <a:chOff x="3954323" y="1486799"/>
            <a:chExt cx="7380605" cy="4992454"/>
          </a:xfrm>
        </p:grpSpPr>
        <p:sp>
          <p:nvSpPr>
            <p:cNvPr id="564" name="Google Shape;564;p59"/>
            <p:cNvSpPr/>
            <p:nvPr/>
          </p:nvSpPr>
          <p:spPr>
            <a:xfrm>
              <a:off x="4282568" y="318491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65" name="Google Shape;565;p59"/>
            <p:cNvSpPr/>
            <p:nvPr/>
          </p:nvSpPr>
          <p:spPr>
            <a:xfrm>
              <a:off x="5267524" y="318491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66" name="Google Shape;566;p59"/>
            <p:cNvSpPr/>
            <p:nvPr/>
          </p:nvSpPr>
          <p:spPr>
            <a:xfrm>
              <a:off x="6252480"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67" name="Google Shape;567;p59"/>
            <p:cNvSpPr/>
            <p:nvPr/>
          </p:nvSpPr>
          <p:spPr>
            <a:xfrm>
              <a:off x="7237436"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68" name="Google Shape;568;p59"/>
            <p:cNvSpPr/>
            <p:nvPr/>
          </p:nvSpPr>
          <p:spPr>
            <a:xfrm>
              <a:off x="8222391"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69" name="Google Shape;569;p59"/>
            <p:cNvSpPr/>
            <p:nvPr/>
          </p:nvSpPr>
          <p:spPr>
            <a:xfrm>
              <a:off x="9207347"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70" name="Google Shape;570;p59"/>
            <p:cNvSpPr/>
            <p:nvPr/>
          </p:nvSpPr>
          <p:spPr>
            <a:xfrm>
              <a:off x="10192302"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571" name="Google Shape;571;p59"/>
            <p:cNvSpPr/>
            <p:nvPr/>
          </p:nvSpPr>
          <p:spPr>
            <a:xfrm>
              <a:off x="4282568" y="41646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72" name="Google Shape;572;p59"/>
            <p:cNvSpPr/>
            <p:nvPr/>
          </p:nvSpPr>
          <p:spPr>
            <a:xfrm>
              <a:off x="5267524" y="41646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73" name="Google Shape;573;p59"/>
            <p:cNvSpPr/>
            <p:nvPr/>
          </p:nvSpPr>
          <p:spPr>
            <a:xfrm>
              <a:off x="6252480"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74" name="Google Shape;574;p59"/>
            <p:cNvSpPr/>
            <p:nvPr/>
          </p:nvSpPr>
          <p:spPr>
            <a:xfrm>
              <a:off x="9211901"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75" name="Google Shape;575;p59"/>
            <p:cNvSpPr/>
            <p:nvPr/>
          </p:nvSpPr>
          <p:spPr>
            <a:xfrm>
              <a:off x="10192302"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76" name="Google Shape;576;p59"/>
            <p:cNvSpPr/>
            <p:nvPr/>
          </p:nvSpPr>
          <p:spPr>
            <a:xfrm>
              <a:off x="5267524" y="4909730"/>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77" name="Google Shape;577;p59"/>
            <p:cNvSpPr/>
            <p:nvPr/>
          </p:nvSpPr>
          <p:spPr>
            <a:xfrm>
              <a:off x="7237436" y="490973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78" name="Google Shape;578;p59"/>
            <p:cNvSpPr/>
            <p:nvPr/>
          </p:nvSpPr>
          <p:spPr>
            <a:xfrm>
              <a:off x="8222391" y="490973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79" name="Google Shape;579;p59"/>
            <p:cNvSpPr/>
            <p:nvPr/>
          </p:nvSpPr>
          <p:spPr>
            <a:xfrm>
              <a:off x="3954323" y="3968637"/>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80" name="Google Shape;580;p59"/>
            <p:cNvSpPr/>
            <p:nvPr/>
          </p:nvSpPr>
          <p:spPr>
            <a:xfrm>
              <a:off x="3954323" y="5696432"/>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81" name="Google Shape;581;p59"/>
            <p:cNvSpPr/>
            <p:nvPr/>
          </p:nvSpPr>
          <p:spPr>
            <a:xfrm>
              <a:off x="4282568" y="58861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82" name="Google Shape;582;p59"/>
            <p:cNvSpPr/>
            <p:nvPr/>
          </p:nvSpPr>
          <p:spPr>
            <a:xfrm>
              <a:off x="5267524" y="58861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83" name="Google Shape;583;p59"/>
            <p:cNvSpPr/>
            <p:nvPr/>
          </p:nvSpPr>
          <p:spPr>
            <a:xfrm>
              <a:off x="6252480" y="58861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584" name="Google Shape;584;p59"/>
            <p:cNvSpPr/>
            <p:nvPr/>
          </p:nvSpPr>
          <p:spPr>
            <a:xfrm>
              <a:off x="8222391" y="58861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grpSp>
          <p:nvGrpSpPr>
            <p:cNvPr id="585" name="Google Shape;585;p59"/>
            <p:cNvGrpSpPr/>
            <p:nvPr/>
          </p:nvGrpSpPr>
          <p:grpSpPr>
            <a:xfrm>
              <a:off x="4275349" y="1486799"/>
              <a:ext cx="5760085" cy="864235"/>
              <a:chOff x="4418708" y="1025419"/>
              <a:chExt cx="5760085" cy="864235"/>
            </a:xfrm>
          </p:grpSpPr>
          <p:sp>
            <p:nvSpPr>
              <p:cNvPr id="586" name="Google Shape;586;p59"/>
              <p:cNvSpPr/>
              <p:nvPr/>
            </p:nvSpPr>
            <p:spPr>
              <a:xfrm>
                <a:off x="4538262" y="111622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87" name="Google Shape;587;p59"/>
              <p:cNvSpPr/>
              <p:nvPr/>
            </p:nvSpPr>
            <p:spPr>
              <a:xfrm>
                <a:off x="4625778" y="123308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88" name="Google Shape;588;p59"/>
              <p:cNvSpPr/>
              <p:nvPr/>
            </p:nvSpPr>
            <p:spPr>
              <a:xfrm>
                <a:off x="9467596" y="111622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89" name="Google Shape;589;p59"/>
              <p:cNvSpPr/>
              <p:nvPr/>
            </p:nvSpPr>
            <p:spPr>
              <a:xfrm>
                <a:off x="9555111" y="123308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590" name="Google Shape;590;p59"/>
              <p:cNvSpPr/>
              <p:nvPr/>
            </p:nvSpPr>
            <p:spPr>
              <a:xfrm>
                <a:off x="4418708" y="1025419"/>
                <a:ext cx="5760085" cy="864235"/>
              </a:xfrm>
              <a:custGeom>
                <a:avLst/>
                <a:gdLst/>
                <a:ahLst/>
                <a:cxnLst/>
                <a:rect l="l" t="t" r="r" b="b"/>
                <a:pathLst>
                  <a:path w="5760084" h="864235" extrusionOk="0">
                    <a:moveTo>
                      <a:pt x="0" y="0"/>
                    </a:moveTo>
                    <a:lnTo>
                      <a:pt x="5759998" y="0"/>
                    </a:lnTo>
                    <a:lnTo>
                      <a:pt x="5759998" y="863999"/>
                    </a:lnTo>
                    <a:lnTo>
                      <a:pt x="0" y="863999"/>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grpSp>
      </p:grpSp>
      <p:grpSp>
        <p:nvGrpSpPr>
          <p:cNvPr id="591" name="Google Shape;591;p59"/>
          <p:cNvGrpSpPr/>
          <p:nvPr/>
        </p:nvGrpSpPr>
        <p:grpSpPr>
          <a:xfrm>
            <a:off x="613706" y="1829883"/>
            <a:ext cx="6916250" cy="1810479"/>
            <a:chOff x="818274" y="2439844"/>
            <a:chExt cx="9221667" cy="2413971"/>
          </a:xfrm>
        </p:grpSpPr>
        <p:sp>
          <p:nvSpPr>
            <p:cNvPr id="592" name="Google Shape;592;p59"/>
            <p:cNvSpPr/>
            <p:nvPr/>
          </p:nvSpPr>
          <p:spPr>
            <a:xfrm>
              <a:off x="4282568" y="243984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593" name="Google Shape;593;p59"/>
            <p:cNvSpPr/>
            <p:nvPr/>
          </p:nvSpPr>
          <p:spPr>
            <a:xfrm>
              <a:off x="6252480" y="243984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594" name="Google Shape;594;p59"/>
            <p:cNvSpPr/>
            <p:nvPr/>
          </p:nvSpPr>
          <p:spPr>
            <a:xfrm>
              <a:off x="9211901" y="243984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595" name="Google Shape;595;p59"/>
            <p:cNvSpPr txBox="1"/>
            <p:nvPr/>
          </p:nvSpPr>
          <p:spPr>
            <a:xfrm>
              <a:off x="818274" y="3503456"/>
              <a:ext cx="2874000" cy="1350359"/>
            </a:xfrm>
            <a:prstGeom prst="rect">
              <a:avLst/>
            </a:prstGeom>
            <a:noFill/>
            <a:ln>
              <a:noFill/>
            </a:ln>
          </p:spPr>
          <p:txBody>
            <a:bodyPr spcFirstLastPara="1" wrap="square" lIns="0" tIns="50475" rIns="0" bIns="0" anchor="t" anchorCtr="0">
              <a:spAutoFit/>
            </a:bodyPr>
            <a:lstStyle/>
            <a:p>
              <a:pPr marL="9525"/>
              <a:r>
                <a:rPr lang="en-IN" sz="1500" dirty="0">
                  <a:solidFill>
                    <a:srgbClr val="2BA6ED"/>
                  </a:solidFill>
                  <a:latin typeface="Arial" panose="020B0604020202020204" pitchFamily="34" charset="0"/>
                  <a:ea typeface="Proxima Nova"/>
                  <a:cs typeface="Arial" panose="020B0604020202020204" pitchFamily="34" charset="0"/>
                  <a:sym typeface="Proxima Nova"/>
                </a:rPr>
                <a:t>User Activities ("Backbone“)</a:t>
              </a:r>
              <a:endParaRPr sz="1500" dirty="0">
                <a:latin typeface="Arial" panose="020B0604020202020204" pitchFamily="34" charset="0"/>
                <a:ea typeface="Proxima Nova"/>
                <a:cs typeface="Arial" panose="020B0604020202020204" pitchFamily="34" charset="0"/>
                <a:sym typeface="Proxima Nova"/>
              </a:endParaRPr>
            </a:p>
            <a:p>
              <a:pPr>
                <a:spcBef>
                  <a:spcPts val="323"/>
                </a:spcBef>
              </a:pPr>
              <a:r>
                <a:rPr lang="en-IN" sz="1500" dirty="0">
                  <a:solidFill>
                    <a:srgbClr val="454646"/>
                  </a:solidFill>
                  <a:latin typeface="Arial" panose="020B0604020202020204" pitchFamily="34" charset="0"/>
                  <a:ea typeface="Proxima Nova"/>
                  <a:cs typeface="Arial" panose="020B0604020202020204" pitchFamily="34" charset="0"/>
                  <a:sym typeface="Proxima Nova"/>
                </a:rPr>
                <a:t>Groupings of similar tasks.</a:t>
              </a:r>
              <a:endParaRPr sz="1500" dirty="0">
                <a:latin typeface="Arial" panose="020B0604020202020204" pitchFamily="34" charset="0"/>
                <a:ea typeface="Proxima Nova"/>
                <a:cs typeface="Arial" panose="020B0604020202020204" pitchFamily="34" charset="0"/>
                <a:sym typeface="Proxima Nova"/>
              </a:endParaRPr>
            </a:p>
          </p:txBody>
        </p:sp>
        <p:sp>
          <p:nvSpPr>
            <p:cNvPr id="596" name="Google Shape;596;p59"/>
            <p:cNvSpPr/>
            <p:nvPr/>
          </p:nvSpPr>
          <p:spPr>
            <a:xfrm>
              <a:off x="2884311" y="2671233"/>
              <a:ext cx="1155700" cy="740410"/>
            </a:xfrm>
            <a:custGeom>
              <a:avLst/>
              <a:gdLst/>
              <a:ahLst/>
              <a:cxnLst/>
              <a:rect l="l" t="t" r="r" b="b"/>
              <a:pathLst>
                <a:path w="1155700" h="740410" extrusionOk="0">
                  <a:moveTo>
                    <a:pt x="1145541" y="31361"/>
                  </a:moveTo>
                  <a:lnTo>
                    <a:pt x="1091373" y="31361"/>
                  </a:lnTo>
                  <a:lnTo>
                    <a:pt x="1091968" y="44047"/>
                  </a:lnTo>
                  <a:lnTo>
                    <a:pt x="1079282" y="44643"/>
                  </a:lnTo>
                  <a:lnTo>
                    <a:pt x="1080113" y="76165"/>
                  </a:lnTo>
                  <a:lnTo>
                    <a:pt x="1155142" y="35808"/>
                  </a:lnTo>
                  <a:lnTo>
                    <a:pt x="1145541" y="31361"/>
                  </a:lnTo>
                  <a:close/>
                </a:path>
                <a:path w="1155700" h="740410" extrusionOk="0">
                  <a:moveTo>
                    <a:pt x="1078980" y="38196"/>
                  </a:moveTo>
                  <a:lnTo>
                    <a:pt x="1079172" y="44643"/>
                  </a:lnTo>
                  <a:lnTo>
                    <a:pt x="1078980" y="38196"/>
                  </a:lnTo>
                  <a:close/>
                </a:path>
                <a:path w="1155700" h="740410" extrusionOk="0">
                  <a:moveTo>
                    <a:pt x="1091373" y="31361"/>
                  </a:moveTo>
                  <a:lnTo>
                    <a:pt x="1078793" y="31952"/>
                  </a:lnTo>
                  <a:lnTo>
                    <a:pt x="1078980" y="38196"/>
                  </a:lnTo>
                  <a:lnTo>
                    <a:pt x="1079282" y="44643"/>
                  </a:lnTo>
                  <a:lnTo>
                    <a:pt x="1091968" y="44047"/>
                  </a:lnTo>
                  <a:lnTo>
                    <a:pt x="1091373" y="31361"/>
                  </a:lnTo>
                  <a:close/>
                </a:path>
                <a:path w="1155700" h="740410" extrusionOk="0">
                  <a:moveTo>
                    <a:pt x="1078793" y="31952"/>
                  </a:moveTo>
                  <a:lnTo>
                    <a:pt x="1078980" y="38196"/>
                  </a:lnTo>
                  <a:lnTo>
                    <a:pt x="1078793" y="31952"/>
                  </a:lnTo>
                  <a:close/>
                </a:path>
                <a:path w="1155700" h="740410" extrusionOk="0">
                  <a:moveTo>
                    <a:pt x="1077840" y="0"/>
                  </a:moveTo>
                  <a:lnTo>
                    <a:pt x="1078793" y="31952"/>
                  </a:lnTo>
                  <a:lnTo>
                    <a:pt x="1091373" y="31361"/>
                  </a:lnTo>
                  <a:lnTo>
                    <a:pt x="1145541" y="31361"/>
                  </a:lnTo>
                  <a:lnTo>
                    <a:pt x="1077840" y="0"/>
                  </a:lnTo>
                  <a:close/>
                </a:path>
                <a:path w="1155700" h="740410" extrusionOk="0">
                  <a:moveTo>
                    <a:pt x="1040391" y="33957"/>
                  </a:moveTo>
                  <a:lnTo>
                    <a:pt x="1027738" y="35053"/>
                  </a:lnTo>
                  <a:lnTo>
                    <a:pt x="1028835" y="47706"/>
                  </a:lnTo>
                  <a:lnTo>
                    <a:pt x="1041488" y="46609"/>
                  </a:lnTo>
                  <a:lnTo>
                    <a:pt x="1040391" y="33957"/>
                  </a:lnTo>
                  <a:close/>
                </a:path>
                <a:path w="1155700" h="740410" extrusionOk="0">
                  <a:moveTo>
                    <a:pt x="989578" y="38423"/>
                  </a:moveTo>
                  <a:lnTo>
                    <a:pt x="976970" y="39937"/>
                  </a:lnTo>
                  <a:lnTo>
                    <a:pt x="978482" y="52547"/>
                  </a:lnTo>
                  <a:lnTo>
                    <a:pt x="991092" y="51033"/>
                  </a:lnTo>
                  <a:lnTo>
                    <a:pt x="989578" y="38423"/>
                  </a:lnTo>
                  <a:close/>
                </a:path>
                <a:path w="1155700" h="740410" extrusionOk="0">
                  <a:moveTo>
                    <a:pt x="939142" y="44476"/>
                  </a:moveTo>
                  <a:lnTo>
                    <a:pt x="938328" y="44574"/>
                  </a:lnTo>
                  <a:lnTo>
                    <a:pt x="926377" y="46412"/>
                  </a:lnTo>
                  <a:lnTo>
                    <a:pt x="928306" y="58963"/>
                  </a:lnTo>
                  <a:lnTo>
                    <a:pt x="939971" y="57171"/>
                  </a:lnTo>
                  <a:lnTo>
                    <a:pt x="940654" y="57086"/>
                  </a:lnTo>
                  <a:lnTo>
                    <a:pt x="939142" y="44476"/>
                  </a:lnTo>
                  <a:close/>
                </a:path>
                <a:path w="1155700" h="740410" extrusionOk="0">
                  <a:moveTo>
                    <a:pt x="888719" y="52200"/>
                  </a:moveTo>
                  <a:lnTo>
                    <a:pt x="885972" y="52622"/>
                  </a:lnTo>
                  <a:lnTo>
                    <a:pt x="876015" y="54494"/>
                  </a:lnTo>
                  <a:lnTo>
                    <a:pt x="878361" y="66975"/>
                  </a:lnTo>
                  <a:lnTo>
                    <a:pt x="888024" y="65158"/>
                  </a:lnTo>
                  <a:lnTo>
                    <a:pt x="890649" y="64753"/>
                  </a:lnTo>
                  <a:lnTo>
                    <a:pt x="888719" y="52200"/>
                  </a:lnTo>
                  <a:close/>
                </a:path>
                <a:path w="1155700" h="740410" extrusionOk="0">
                  <a:moveTo>
                    <a:pt x="838570" y="61532"/>
                  </a:moveTo>
                  <a:lnTo>
                    <a:pt x="834473" y="62302"/>
                  </a:lnTo>
                  <a:lnTo>
                    <a:pt x="825939" y="64204"/>
                  </a:lnTo>
                  <a:lnTo>
                    <a:pt x="828701" y="76600"/>
                  </a:lnTo>
                  <a:lnTo>
                    <a:pt x="836945" y="74763"/>
                  </a:lnTo>
                  <a:lnTo>
                    <a:pt x="840916" y="74014"/>
                  </a:lnTo>
                  <a:lnTo>
                    <a:pt x="838570" y="61532"/>
                  </a:lnTo>
                  <a:close/>
                </a:path>
                <a:path w="1155700" h="740410" extrusionOk="0">
                  <a:moveTo>
                    <a:pt x="788751" y="72492"/>
                  </a:moveTo>
                  <a:lnTo>
                    <a:pt x="783894" y="73576"/>
                  </a:lnTo>
                  <a:lnTo>
                    <a:pt x="776208" y="75563"/>
                  </a:lnTo>
                  <a:lnTo>
                    <a:pt x="779388" y="87858"/>
                  </a:lnTo>
                  <a:lnTo>
                    <a:pt x="786774" y="85948"/>
                  </a:lnTo>
                  <a:lnTo>
                    <a:pt x="791514" y="84889"/>
                  </a:lnTo>
                  <a:lnTo>
                    <a:pt x="788751" y="72492"/>
                  </a:lnTo>
                  <a:close/>
                </a:path>
                <a:path w="1155700" h="740410" extrusionOk="0">
                  <a:moveTo>
                    <a:pt x="739322" y="85103"/>
                  </a:moveTo>
                  <a:lnTo>
                    <a:pt x="734292" y="86404"/>
                  </a:lnTo>
                  <a:lnTo>
                    <a:pt x="726888" y="88591"/>
                  </a:lnTo>
                  <a:lnTo>
                    <a:pt x="730486" y="100771"/>
                  </a:lnTo>
                  <a:lnTo>
                    <a:pt x="737592" y="98672"/>
                  </a:lnTo>
                  <a:lnTo>
                    <a:pt x="742502" y="97398"/>
                  </a:lnTo>
                  <a:lnTo>
                    <a:pt x="739322" y="85103"/>
                  </a:lnTo>
                  <a:close/>
                </a:path>
                <a:path w="1155700" h="740410" extrusionOk="0">
                  <a:moveTo>
                    <a:pt x="690349" y="99386"/>
                  </a:moveTo>
                  <a:lnTo>
                    <a:pt x="685727" y="100751"/>
                  </a:lnTo>
                  <a:lnTo>
                    <a:pt x="678042" y="103314"/>
                  </a:lnTo>
                  <a:lnTo>
                    <a:pt x="682059" y="115361"/>
                  </a:lnTo>
                  <a:lnTo>
                    <a:pt x="689442" y="112900"/>
                  </a:lnTo>
                  <a:lnTo>
                    <a:pt x="693947" y="111565"/>
                  </a:lnTo>
                  <a:lnTo>
                    <a:pt x="690349" y="99386"/>
                  </a:lnTo>
                  <a:close/>
                </a:path>
                <a:path w="1155700" h="740410" extrusionOk="0">
                  <a:moveTo>
                    <a:pt x="641898" y="115365"/>
                  </a:moveTo>
                  <a:lnTo>
                    <a:pt x="638262" y="116578"/>
                  </a:lnTo>
                  <a:lnTo>
                    <a:pt x="629746" y="119754"/>
                  </a:lnTo>
                  <a:lnTo>
                    <a:pt x="634183" y="131653"/>
                  </a:lnTo>
                  <a:lnTo>
                    <a:pt x="642394" y="128591"/>
                  </a:lnTo>
                  <a:lnTo>
                    <a:pt x="645915" y="127414"/>
                  </a:lnTo>
                  <a:lnTo>
                    <a:pt x="641898" y="115365"/>
                  </a:lnTo>
                  <a:close/>
                </a:path>
                <a:path w="1155700" h="740410" extrusionOk="0">
                  <a:moveTo>
                    <a:pt x="594047" y="133066"/>
                  </a:moveTo>
                  <a:lnTo>
                    <a:pt x="591955" y="133846"/>
                  </a:lnTo>
                  <a:lnTo>
                    <a:pt x="582075" y="137939"/>
                  </a:lnTo>
                  <a:lnTo>
                    <a:pt x="586934" y="149673"/>
                  </a:lnTo>
                  <a:lnTo>
                    <a:pt x="596511" y="145707"/>
                  </a:lnTo>
                  <a:lnTo>
                    <a:pt x="598484" y="144966"/>
                  </a:lnTo>
                  <a:lnTo>
                    <a:pt x="594047" y="133066"/>
                  </a:lnTo>
                  <a:close/>
                </a:path>
                <a:path w="1155700" h="740410" extrusionOk="0">
                  <a:moveTo>
                    <a:pt x="546663" y="152614"/>
                  </a:moveTo>
                  <a:lnTo>
                    <a:pt x="535115" y="157897"/>
                  </a:lnTo>
                  <a:lnTo>
                    <a:pt x="540398" y="169445"/>
                  </a:lnTo>
                  <a:lnTo>
                    <a:pt x="551948" y="164162"/>
                  </a:lnTo>
                  <a:lnTo>
                    <a:pt x="546663" y="152614"/>
                  </a:lnTo>
                  <a:close/>
                </a:path>
                <a:path w="1155700" h="740410" extrusionOk="0">
                  <a:moveTo>
                    <a:pt x="500303" y="173949"/>
                  </a:moveTo>
                  <a:lnTo>
                    <a:pt x="488958" y="179658"/>
                  </a:lnTo>
                  <a:lnTo>
                    <a:pt x="494667" y="191001"/>
                  </a:lnTo>
                  <a:lnTo>
                    <a:pt x="506012" y="185293"/>
                  </a:lnTo>
                  <a:lnTo>
                    <a:pt x="500303" y="173949"/>
                  </a:lnTo>
                  <a:close/>
                </a:path>
                <a:path w="1155700" h="740410" extrusionOk="0">
                  <a:moveTo>
                    <a:pt x="454826" y="197114"/>
                  </a:moveTo>
                  <a:lnTo>
                    <a:pt x="443707" y="203249"/>
                  </a:lnTo>
                  <a:lnTo>
                    <a:pt x="449842" y="214368"/>
                  </a:lnTo>
                  <a:lnTo>
                    <a:pt x="460961" y="208233"/>
                  </a:lnTo>
                  <a:lnTo>
                    <a:pt x="454826" y="197114"/>
                  </a:lnTo>
                  <a:close/>
                </a:path>
                <a:path w="1155700" h="740410" extrusionOk="0">
                  <a:moveTo>
                    <a:pt x="410340" y="222139"/>
                  </a:moveTo>
                  <a:lnTo>
                    <a:pt x="399469" y="228704"/>
                  </a:lnTo>
                  <a:lnTo>
                    <a:pt x="406034" y="239575"/>
                  </a:lnTo>
                  <a:lnTo>
                    <a:pt x="416905" y="233010"/>
                  </a:lnTo>
                  <a:lnTo>
                    <a:pt x="410340" y="222139"/>
                  </a:lnTo>
                  <a:close/>
                </a:path>
                <a:path w="1155700" h="740410" extrusionOk="0">
                  <a:moveTo>
                    <a:pt x="366969" y="249055"/>
                  </a:moveTo>
                  <a:lnTo>
                    <a:pt x="356368" y="256051"/>
                  </a:lnTo>
                  <a:lnTo>
                    <a:pt x="363363" y="266650"/>
                  </a:lnTo>
                  <a:lnTo>
                    <a:pt x="373964" y="259655"/>
                  </a:lnTo>
                  <a:lnTo>
                    <a:pt x="366969" y="249055"/>
                  </a:lnTo>
                  <a:close/>
                </a:path>
                <a:path w="1155700" h="740410" extrusionOk="0">
                  <a:moveTo>
                    <a:pt x="324841" y="277892"/>
                  </a:moveTo>
                  <a:lnTo>
                    <a:pt x="314539" y="285319"/>
                  </a:lnTo>
                  <a:lnTo>
                    <a:pt x="321965" y="295621"/>
                  </a:lnTo>
                  <a:lnTo>
                    <a:pt x="332267" y="288194"/>
                  </a:lnTo>
                  <a:lnTo>
                    <a:pt x="324841" y="277892"/>
                  </a:lnTo>
                  <a:close/>
                </a:path>
                <a:path w="1155700" h="740410" extrusionOk="0">
                  <a:moveTo>
                    <a:pt x="284105" y="308674"/>
                  </a:moveTo>
                  <a:lnTo>
                    <a:pt x="274128" y="316533"/>
                  </a:lnTo>
                  <a:lnTo>
                    <a:pt x="281985" y="326509"/>
                  </a:lnTo>
                  <a:lnTo>
                    <a:pt x="291962" y="318651"/>
                  </a:lnTo>
                  <a:lnTo>
                    <a:pt x="284105" y="308674"/>
                  </a:lnTo>
                  <a:close/>
                </a:path>
                <a:path w="1155700" h="740410" extrusionOk="0">
                  <a:moveTo>
                    <a:pt x="244919" y="341424"/>
                  </a:moveTo>
                  <a:lnTo>
                    <a:pt x="237308" y="347980"/>
                  </a:lnTo>
                  <a:lnTo>
                    <a:pt x="235168" y="350000"/>
                  </a:lnTo>
                  <a:lnTo>
                    <a:pt x="243886" y="359236"/>
                  </a:lnTo>
                  <a:lnTo>
                    <a:pt x="245715" y="357508"/>
                  </a:lnTo>
                  <a:lnTo>
                    <a:pt x="253208" y="351045"/>
                  </a:lnTo>
                  <a:lnTo>
                    <a:pt x="244919" y="341424"/>
                  </a:lnTo>
                  <a:close/>
                </a:path>
                <a:path w="1155700" h="740410" extrusionOk="0">
                  <a:moveTo>
                    <a:pt x="207462" y="376153"/>
                  </a:moveTo>
                  <a:lnTo>
                    <a:pt x="205916" y="377612"/>
                  </a:lnTo>
                  <a:lnTo>
                    <a:pt x="198370" y="385439"/>
                  </a:lnTo>
                  <a:lnTo>
                    <a:pt x="207511" y="394254"/>
                  </a:lnTo>
                  <a:lnTo>
                    <a:pt x="214751" y="386745"/>
                  </a:lnTo>
                  <a:lnTo>
                    <a:pt x="216180" y="385389"/>
                  </a:lnTo>
                  <a:lnTo>
                    <a:pt x="207462" y="376153"/>
                  </a:lnTo>
                  <a:close/>
                </a:path>
                <a:path w="1155700" h="740410" extrusionOk="0">
                  <a:moveTo>
                    <a:pt x="171949" y="413310"/>
                  </a:moveTo>
                  <a:lnTo>
                    <a:pt x="163589" y="422871"/>
                  </a:lnTo>
                  <a:lnTo>
                    <a:pt x="173151" y="431231"/>
                  </a:lnTo>
                  <a:lnTo>
                    <a:pt x="181510" y="421669"/>
                  </a:lnTo>
                  <a:lnTo>
                    <a:pt x="171949" y="413310"/>
                  </a:lnTo>
                  <a:close/>
                </a:path>
                <a:path w="1155700" h="740410" extrusionOk="0">
                  <a:moveTo>
                    <a:pt x="138913" y="452305"/>
                  </a:moveTo>
                  <a:lnTo>
                    <a:pt x="131048" y="462276"/>
                  </a:lnTo>
                  <a:lnTo>
                    <a:pt x="141019" y="470142"/>
                  </a:lnTo>
                  <a:lnTo>
                    <a:pt x="148885" y="460170"/>
                  </a:lnTo>
                  <a:lnTo>
                    <a:pt x="138913" y="452305"/>
                  </a:lnTo>
                  <a:close/>
                </a:path>
                <a:path w="1155700" h="740410" extrusionOk="0">
                  <a:moveTo>
                    <a:pt x="108309" y="493245"/>
                  </a:moveTo>
                  <a:lnTo>
                    <a:pt x="100976" y="503614"/>
                  </a:lnTo>
                  <a:lnTo>
                    <a:pt x="111345" y="510947"/>
                  </a:lnTo>
                  <a:lnTo>
                    <a:pt x="118678" y="500578"/>
                  </a:lnTo>
                  <a:lnTo>
                    <a:pt x="108309" y="493245"/>
                  </a:lnTo>
                  <a:close/>
                </a:path>
                <a:path w="1155700" h="740410" extrusionOk="0">
                  <a:moveTo>
                    <a:pt x="80375" y="536068"/>
                  </a:moveTo>
                  <a:lnTo>
                    <a:pt x="77589" y="540500"/>
                  </a:lnTo>
                  <a:lnTo>
                    <a:pt x="73803" y="547343"/>
                  </a:lnTo>
                  <a:lnTo>
                    <a:pt x="84917" y="553491"/>
                  </a:lnTo>
                  <a:lnTo>
                    <a:pt x="88446" y="547109"/>
                  </a:lnTo>
                  <a:lnTo>
                    <a:pt x="91127" y="542828"/>
                  </a:lnTo>
                  <a:lnTo>
                    <a:pt x="80375" y="536068"/>
                  </a:lnTo>
                  <a:close/>
                </a:path>
                <a:path w="1155700" h="740410" extrusionOk="0">
                  <a:moveTo>
                    <a:pt x="55492" y="581164"/>
                  </a:moveTo>
                  <a:lnTo>
                    <a:pt x="49998" y="592615"/>
                  </a:lnTo>
                  <a:lnTo>
                    <a:pt x="61448" y="598109"/>
                  </a:lnTo>
                  <a:lnTo>
                    <a:pt x="66942" y="586658"/>
                  </a:lnTo>
                  <a:lnTo>
                    <a:pt x="55492" y="581164"/>
                  </a:lnTo>
                  <a:close/>
                </a:path>
                <a:path w="1155700" h="740410" extrusionOk="0">
                  <a:moveTo>
                    <a:pt x="34289" y="627722"/>
                  </a:moveTo>
                  <a:lnTo>
                    <a:pt x="29489" y="639480"/>
                  </a:lnTo>
                  <a:lnTo>
                    <a:pt x="41245" y="644281"/>
                  </a:lnTo>
                  <a:lnTo>
                    <a:pt x="46047" y="632523"/>
                  </a:lnTo>
                  <a:lnTo>
                    <a:pt x="34289" y="627722"/>
                  </a:lnTo>
                  <a:close/>
                </a:path>
                <a:path w="1155700" h="740410" extrusionOk="0">
                  <a:moveTo>
                    <a:pt x="16578" y="675725"/>
                  </a:moveTo>
                  <a:lnTo>
                    <a:pt x="13026" y="686216"/>
                  </a:lnTo>
                  <a:lnTo>
                    <a:pt x="12499" y="688168"/>
                  </a:lnTo>
                  <a:lnTo>
                    <a:pt x="24761" y="691478"/>
                  </a:lnTo>
                  <a:lnTo>
                    <a:pt x="25133" y="690100"/>
                  </a:lnTo>
                  <a:lnTo>
                    <a:pt x="28608" y="679796"/>
                  </a:lnTo>
                  <a:lnTo>
                    <a:pt x="16578" y="675725"/>
                  </a:lnTo>
                  <a:close/>
                </a:path>
                <a:path w="1155700" h="740410" extrusionOk="0">
                  <a:moveTo>
                    <a:pt x="25188" y="689896"/>
                  </a:moveTo>
                  <a:lnTo>
                    <a:pt x="25119" y="690100"/>
                  </a:lnTo>
                  <a:lnTo>
                    <a:pt x="25188" y="689896"/>
                  </a:lnTo>
                  <a:close/>
                </a:path>
                <a:path w="1155700" h="740410" extrusionOk="0">
                  <a:moveTo>
                    <a:pt x="2519" y="725356"/>
                  </a:moveTo>
                  <a:lnTo>
                    <a:pt x="0" y="737803"/>
                  </a:lnTo>
                  <a:lnTo>
                    <a:pt x="12447" y="740324"/>
                  </a:lnTo>
                  <a:lnTo>
                    <a:pt x="14966" y="727877"/>
                  </a:lnTo>
                  <a:lnTo>
                    <a:pt x="2519" y="725356"/>
                  </a:lnTo>
                  <a:close/>
                </a:path>
              </a:pathLst>
            </a:custGeom>
            <a:solidFill>
              <a:srgbClr val="1B2429"/>
            </a:solidFill>
            <a:ln>
              <a:noFill/>
            </a:ln>
          </p:spPr>
          <p:txBody>
            <a:bodyPr spcFirstLastPara="1" wrap="square" lIns="0" tIns="0" rIns="0" bIns="0" anchor="t" anchorCtr="0">
              <a:noAutofit/>
            </a:bodyPr>
            <a:lstStyle/>
            <a:p>
              <a:endParaRPr sz="1050" dirty="0"/>
            </a:p>
          </p:txBody>
        </p:sp>
      </p:grpSp>
      <p:sp>
        <p:nvSpPr>
          <p:cNvPr id="597" name="Google Shape;597;p59"/>
          <p:cNvSpPr/>
          <p:nvPr/>
        </p:nvSpPr>
        <p:spPr>
          <a:xfrm>
            <a:off x="3081916" y="1798205"/>
            <a:ext cx="5085926" cy="533939"/>
          </a:xfrm>
          <a:custGeom>
            <a:avLst/>
            <a:gdLst/>
            <a:ahLst/>
            <a:cxnLst/>
            <a:rect l="l" t="t" r="r" b="b"/>
            <a:pathLst>
              <a:path w="6912609" h="756285" extrusionOk="0">
                <a:moveTo>
                  <a:pt x="0" y="0"/>
                </a:moveTo>
                <a:lnTo>
                  <a:pt x="6912000" y="0"/>
                </a:lnTo>
                <a:lnTo>
                  <a:pt x="6912000" y="756000"/>
                </a:lnTo>
                <a:lnTo>
                  <a:pt x="0" y="756000"/>
                </a:lnTo>
                <a:lnTo>
                  <a:pt x="0" y="0"/>
                </a:lnTo>
                <a:close/>
              </a:path>
            </a:pathLst>
          </a:custGeom>
          <a:noFill/>
          <a:ln w="19050" cap="flat" cmpd="sng">
            <a:solidFill>
              <a:srgbClr val="FF0000"/>
            </a:solidFill>
            <a:prstDash val="dash"/>
            <a:round/>
            <a:headEnd type="none" w="sm" len="sm"/>
            <a:tailEnd type="none" w="sm" len="sm"/>
          </a:ln>
        </p:spPr>
        <p:txBody>
          <a:bodyPr spcFirstLastPara="1" wrap="square" lIns="0" tIns="0" rIns="0" bIns="0" anchor="t" anchorCtr="0">
            <a:noAutofit/>
          </a:bodyPr>
          <a:lstStyle/>
          <a:p>
            <a:endParaRPr sz="1050" dirty="0"/>
          </a:p>
        </p:txBody>
      </p:sp>
      <p:sp>
        <p:nvSpPr>
          <p:cNvPr id="598" name="Google Shape;598;p59"/>
          <p:cNvSpPr txBox="1">
            <a:spLocks noGrp="1"/>
          </p:cNvSpPr>
          <p:nvPr>
            <p:ph type="sldNum" idx="12"/>
          </p:nvPr>
        </p:nvSpPr>
        <p:spPr>
          <a:xfrm>
            <a:off x="8556784" y="4749851"/>
            <a:ext cx="548775" cy="393525"/>
          </a:xfrm>
          <a:prstGeom prst="rect">
            <a:avLst/>
          </a:prstGeom>
        </p:spPr>
        <p:txBody>
          <a:bodyPr spcFirstLastPara="1" wrap="square" lIns="91425" tIns="91425" rIns="91425" bIns="91425" anchor="t" anchorCtr="0">
            <a:noAutofit/>
          </a:bodyPr>
          <a:lstStyle/>
          <a:p>
            <a:pPr>
              <a:buSzPts val="1700"/>
            </a:pPr>
            <a:fld id="{00000000-1234-1234-1234-123412341234}" type="slidenum">
              <a:rPr lang="en-IN"/>
              <a:pPr>
                <a:buSzPts val="1700"/>
              </a:pPr>
              <a:t>27</a:t>
            </a:fld>
            <a:endParaRPr dirty="0"/>
          </a:p>
        </p:txBody>
      </p:sp>
      <p:pic>
        <p:nvPicPr>
          <p:cNvPr id="2" name="Graphic 1" descr="Lock with solid fill">
            <a:extLst>
              <a:ext uri="{FF2B5EF4-FFF2-40B4-BE49-F238E27FC236}">
                <a16:creationId xmlns:a16="http://schemas.microsoft.com/office/drawing/2014/main" id="{D6ABB968-6BA4-8C98-7E0E-4B0CF8582D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1924" y="1914657"/>
            <a:ext cx="301034" cy="301034"/>
          </a:xfrm>
          <a:prstGeom prst="rect">
            <a:avLst/>
          </a:prstGeom>
        </p:spPr>
      </p:pic>
      <p:pic>
        <p:nvPicPr>
          <p:cNvPr id="3" name="Graphic 2" descr="Lock with solid fill">
            <a:extLst>
              <a:ext uri="{FF2B5EF4-FFF2-40B4-BE49-F238E27FC236}">
                <a16:creationId xmlns:a16="http://schemas.microsoft.com/office/drawing/2014/main" id="{D678E19C-DD9B-B987-2AF3-EAFCA52B36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49358" y="1918605"/>
            <a:ext cx="301034" cy="301034"/>
          </a:xfrm>
          <a:prstGeom prst="rect">
            <a:avLst/>
          </a:prstGeom>
        </p:spPr>
      </p:pic>
      <p:pic>
        <p:nvPicPr>
          <p:cNvPr id="4" name="Graphic 3" descr="Lock with solid fill">
            <a:extLst>
              <a:ext uri="{FF2B5EF4-FFF2-40B4-BE49-F238E27FC236}">
                <a16:creationId xmlns:a16="http://schemas.microsoft.com/office/drawing/2014/main" id="{187751BF-EF7F-5CA4-69DA-D7ED02ABAE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5509" y="1902853"/>
            <a:ext cx="301034" cy="30103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9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02"/>
        <p:cNvGrpSpPr/>
        <p:nvPr/>
      </p:nvGrpSpPr>
      <p:grpSpPr>
        <a:xfrm>
          <a:off x="0" y="0"/>
          <a:ext cx="0" cy="0"/>
          <a:chOff x="0" y="0"/>
          <a:chExt cx="0" cy="0"/>
        </a:xfrm>
      </p:grpSpPr>
      <p:sp>
        <p:nvSpPr>
          <p:cNvPr id="603" name="Google Shape;603;p60"/>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3200"/>
            </a:pPr>
            <a:r>
              <a:rPr lang="en-IN" dirty="0">
                <a:latin typeface="Arial" panose="020B0604020202020204" pitchFamily="34" charset="0"/>
                <a:ea typeface="Helvetica Neue"/>
                <a:cs typeface="Arial" panose="020B0604020202020204" pitchFamily="34" charset="0"/>
                <a:sym typeface="Helvetica Neue"/>
              </a:rPr>
              <a:t>Anatomy Of A Map</a:t>
            </a:r>
            <a:endParaRPr dirty="0">
              <a:latin typeface="Arial" panose="020B0604020202020204" pitchFamily="34" charset="0"/>
              <a:ea typeface="Helvetica Neue"/>
              <a:cs typeface="Arial" panose="020B0604020202020204" pitchFamily="34" charset="0"/>
              <a:sym typeface="Helvetica Neue"/>
            </a:endParaRPr>
          </a:p>
        </p:txBody>
      </p:sp>
      <p:grpSp>
        <p:nvGrpSpPr>
          <p:cNvPr id="604" name="Google Shape;604;p60"/>
          <p:cNvGrpSpPr/>
          <p:nvPr/>
        </p:nvGrpSpPr>
        <p:grpSpPr>
          <a:xfrm>
            <a:off x="2965743" y="2976478"/>
            <a:ext cx="5535454" cy="1882962"/>
            <a:chOff x="3954323" y="3968637"/>
            <a:chExt cx="7380605" cy="2510616"/>
          </a:xfrm>
        </p:grpSpPr>
        <p:sp>
          <p:nvSpPr>
            <p:cNvPr id="605" name="Google Shape;605;p60"/>
            <p:cNvSpPr/>
            <p:nvPr/>
          </p:nvSpPr>
          <p:spPr>
            <a:xfrm>
              <a:off x="4282568" y="41646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06" name="Google Shape;606;p60"/>
            <p:cNvSpPr/>
            <p:nvPr/>
          </p:nvSpPr>
          <p:spPr>
            <a:xfrm>
              <a:off x="5267524" y="41646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07" name="Google Shape;607;p60"/>
            <p:cNvSpPr/>
            <p:nvPr/>
          </p:nvSpPr>
          <p:spPr>
            <a:xfrm>
              <a:off x="6252480"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08" name="Google Shape;608;p60"/>
            <p:cNvSpPr/>
            <p:nvPr/>
          </p:nvSpPr>
          <p:spPr>
            <a:xfrm>
              <a:off x="9211901"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09" name="Google Shape;609;p60"/>
            <p:cNvSpPr/>
            <p:nvPr/>
          </p:nvSpPr>
          <p:spPr>
            <a:xfrm>
              <a:off x="10192302" y="41646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10" name="Google Shape;610;p60"/>
            <p:cNvSpPr/>
            <p:nvPr/>
          </p:nvSpPr>
          <p:spPr>
            <a:xfrm>
              <a:off x="5267524" y="4909730"/>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11" name="Google Shape;611;p60"/>
            <p:cNvSpPr/>
            <p:nvPr/>
          </p:nvSpPr>
          <p:spPr>
            <a:xfrm>
              <a:off x="7237436" y="490973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12" name="Google Shape;612;p60"/>
            <p:cNvSpPr/>
            <p:nvPr/>
          </p:nvSpPr>
          <p:spPr>
            <a:xfrm>
              <a:off x="8222391" y="4909730"/>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13" name="Google Shape;613;p60"/>
            <p:cNvSpPr/>
            <p:nvPr/>
          </p:nvSpPr>
          <p:spPr>
            <a:xfrm>
              <a:off x="3954323" y="3968637"/>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14" name="Google Shape;614;p60"/>
            <p:cNvSpPr/>
            <p:nvPr/>
          </p:nvSpPr>
          <p:spPr>
            <a:xfrm>
              <a:off x="3954323" y="5696432"/>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15" name="Google Shape;615;p60"/>
            <p:cNvSpPr/>
            <p:nvPr/>
          </p:nvSpPr>
          <p:spPr>
            <a:xfrm>
              <a:off x="4282568" y="58861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16" name="Google Shape;616;p60"/>
            <p:cNvSpPr/>
            <p:nvPr/>
          </p:nvSpPr>
          <p:spPr>
            <a:xfrm>
              <a:off x="5267524" y="588616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17" name="Google Shape;617;p60"/>
            <p:cNvSpPr/>
            <p:nvPr/>
          </p:nvSpPr>
          <p:spPr>
            <a:xfrm>
              <a:off x="6252480" y="58861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18" name="Google Shape;618;p60"/>
            <p:cNvSpPr/>
            <p:nvPr/>
          </p:nvSpPr>
          <p:spPr>
            <a:xfrm>
              <a:off x="8222391" y="588616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grpSp>
      <p:grpSp>
        <p:nvGrpSpPr>
          <p:cNvPr id="619" name="Google Shape;619;p60"/>
          <p:cNvGrpSpPr/>
          <p:nvPr/>
        </p:nvGrpSpPr>
        <p:grpSpPr>
          <a:xfrm>
            <a:off x="3206512" y="1115099"/>
            <a:ext cx="5058745" cy="1718402"/>
            <a:chOff x="4275349" y="1486799"/>
            <a:chExt cx="6744993" cy="2291202"/>
          </a:xfrm>
        </p:grpSpPr>
        <p:sp>
          <p:nvSpPr>
            <p:cNvPr id="620" name="Google Shape;620;p60"/>
            <p:cNvSpPr/>
            <p:nvPr/>
          </p:nvSpPr>
          <p:spPr>
            <a:xfrm>
              <a:off x="4282568" y="318491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21" name="Google Shape;621;p60"/>
            <p:cNvSpPr/>
            <p:nvPr/>
          </p:nvSpPr>
          <p:spPr>
            <a:xfrm>
              <a:off x="5267524" y="318491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22" name="Google Shape;622;p60"/>
            <p:cNvSpPr/>
            <p:nvPr/>
          </p:nvSpPr>
          <p:spPr>
            <a:xfrm>
              <a:off x="6252480"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23" name="Google Shape;623;p60"/>
            <p:cNvSpPr/>
            <p:nvPr/>
          </p:nvSpPr>
          <p:spPr>
            <a:xfrm>
              <a:off x="7237436"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24" name="Google Shape;624;p60"/>
            <p:cNvSpPr/>
            <p:nvPr/>
          </p:nvSpPr>
          <p:spPr>
            <a:xfrm>
              <a:off x="8222391"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25" name="Google Shape;625;p60"/>
            <p:cNvSpPr/>
            <p:nvPr/>
          </p:nvSpPr>
          <p:spPr>
            <a:xfrm>
              <a:off x="9207347"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26" name="Google Shape;626;p60"/>
            <p:cNvSpPr/>
            <p:nvPr/>
          </p:nvSpPr>
          <p:spPr>
            <a:xfrm>
              <a:off x="10192302" y="318491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grpSp>
          <p:nvGrpSpPr>
            <p:cNvPr id="627" name="Google Shape;627;p60"/>
            <p:cNvGrpSpPr/>
            <p:nvPr/>
          </p:nvGrpSpPr>
          <p:grpSpPr>
            <a:xfrm>
              <a:off x="4275349" y="1486799"/>
              <a:ext cx="5760085" cy="864235"/>
              <a:chOff x="4418708" y="1025419"/>
              <a:chExt cx="5760085" cy="864235"/>
            </a:xfrm>
          </p:grpSpPr>
          <p:sp>
            <p:nvSpPr>
              <p:cNvPr id="628" name="Google Shape;628;p60"/>
              <p:cNvSpPr/>
              <p:nvPr/>
            </p:nvSpPr>
            <p:spPr>
              <a:xfrm>
                <a:off x="4538262" y="111622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29" name="Google Shape;629;p60"/>
              <p:cNvSpPr/>
              <p:nvPr/>
            </p:nvSpPr>
            <p:spPr>
              <a:xfrm>
                <a:off x="4625778" y="123308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30" name="Google Shape;630;p60"/>
              <p:cNvSpPr/>
              <p:nvPr/>
            </p:nvSpPr>
            <p:spPr>
              <a:xfrm>
                <a:off x="9467596" y="111622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31" name="Google Shape;631;p60"/>
              <p:cNvSpPr/>
              <p:nvPr/>
            </p:nvSpPr>
            <p:spPr>
              <a:xfrm>
                <a:off x="9555111" y="123308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32" name="Google Shape;632;p60"/>
              <p:cNvSpPr/>
              <p:nvPr/>
            </p:nvSpPr>
            <p:spPr>
              <a:xfrm>
                <a:off x="4418708" y="1025419"/>
                <a:ext cx="5760085" cy="864235"/>
              </a:xfrm>
              <a:custGeom>
                <a:avLst/>
                <a:gdLst/>
                <a:ahLst/>
                <a:cxnLst/>
                <a:rect l="l" t="t" r="r" b="b"/>
                <a:pathLst>
                  <a:path w="5760084" h="864235" extrusionOk="0">
                    <a:moveTo>
                      <a:pt x="0" y="0"/>
                    </a:moveTo>
                    <a:lnTo>
                      <a:pt x="5759998" y="0"/>
                    </a:lnTo>
                    <a:lnTo>
                      <a:pt x="5759998" y="863999"/>
                    </a:lnTo>
                    <a:lnTo>
                      <a:pt x="0" y="863999"/>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grpSp>
        <p:grpSp>
          <p:nvGrpSpPr>
            <p:cNvPr id="633" name="Google Shape;633;p60"/>
            <p:cNvGrpSpPr/>
            <p:nvPr/>
          </p:nvGrpSpPr>
          <p:grpSpPr>
            <a:xfrm>
              <a:off x="4282568" y="2439844"/>
              <a:ext cx="5757373" cy="593090"/>
              <a:chOff x="4282568" y="2439844"/>
              <a:chExt cx="5757373" cy="593090"/>
            </a:xfrm>
          </p:grpSpPr>
          <p:sp>
            <p:nvSpPr>
              <p:cNvPr id="634" name="Google Shape;634;p60"/>
              <p:cNvSpPr/>
              <p:nvPr/>
            </p:nvSpPr>
            <p:spPr>
              <a:xfrm>
                <a:off x="4282568" y="243984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635" name="Google Shape;635;p60"/>
              <p:cNvSpPr/>
              <p:nvPr/>
            </p:nvSpPr>
            <p:spPr>
              <a:xfrm>
                <a:off x="6252480" y="243984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636" name="Google Shape;636;p60"/>
              <p:cNvSpPr/>
              <p:nvPr/>
            </p:nvSpPr>
            <p:spPr>
              <a:xfrm>
                <a:off x="9211901" y="243984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grpSp>
      </p:grpSp>
      <p:sp>
        <p:nvSpPr>
          <p:cNvPr id="637" name="Google Shape;637;p60"/>
          <p:cNvSpPr txBox="1"/>
          <p:nvPr/>
        </p:nvSpPr>
        <p:spPr>
          <a:xfrm>
            <a:off x="222506" y="1661494"/>
            <a:ext cx="2599650" cy="1282074"/>
          </a:xfrm>
          <a:prstGeom prst="rect">
            <a:avLst/>
          </a:prstGeom>
          <a:noFill/>
          <a:ln>
            <a:noFill/>
          </a:ln>
        </p:spPr>
        <p:txBody>
          <a:bodyPr spcFirstLastPara="1" wrap="square" lIns="0" tIns="50475" rIns="0" bIns="0" anchor="t" anchorCtr="0">
            <a:spAutoFit/>
          </a:bodyPr>
          <a:lstStyle/>
          <a:p>
            <a:pPr algn="ctr"/>
            <a:r>
              <a:rPr lang="en-IN" sz="1500" dirty="0">
                <a:solidFill>
                  <a:srgbClr val="2BA6ED"/>
                </a:solidFill>
                <a:latin typeface="Arial" panose="020B0604020202020204" pitchFamily="34" charset="0"/>
                <a:ea typeface="Proxima Nova"/>
                <a:cs typeface="Arial" panose="020B0604020202020204" pitchFamily="34" charset="0"/>
                <a:sym typeface="Proxima Nova"/>
              </a:rPr>
              <a:t>User Stories</a:t>
            </a:r>
            <a:endParaRPr sz="1500" dirty="0">
              <a:latin typeface="Arial" panose="020B0604020202020204" pitchFamily="34" charset="0"/>
              <a:ea typeface="Proxima Nova"/>
              <a:cs typeface="Arial" panose="020B0604020202020204" pitchFamily="34" charset="0"/>
              <a:sym typeface="Proxima Nova"/>
            </a:endParaRPr>
          </a:p>
          <a:p>
            <a:pPr algn="ctr">
              <a:spcBef>
                <a:spcPts val="326"/>
              </a:spcBef>
            </a:pPr>
            <a:r>
              <a:rPr lang="en-IN" sz="1500" dirty="0">
                <a:solidFill>
                  <a:srgbClr val="454646"/>
                </a:solidFill>
                <a:latin typeface="Arial" panose="020B0604020202020204" pitchFamily="34" charset="0"/>
                <a:ea typeface="Proxima Nova"/>
                <a:cs typeface="Arial" panose="020B0604020202020204" pitchFamily="34" charset="0"/>
                <a:sym typeface="Proxima Nova"/>
              </a:rPr>
              <a:t>Flesh out the user journey in detail:</a:t>
            </a:r>
            <a:endParaRPr sz="1500" dirty="0">
              <a:latin typeface="Arial" panose="020B0604020202020204" pitchFamily="34" charset="0"/>
              <a:ea typeface="Proxima Nova"/>
              <a:cs typeface="Arial" panose="020B0604020202020204" pitchFamily="34" charset="0"/>
              <a:sym typeface="Proxima Nova"/>
            </a:endParaRPr>
          </a:p>
          <a:p>
            <a:pPr algn="ctr">
              <a:spcBef>
                <a:spcPts val="323"/>
              </a:spcBef>
            </a:pPr>
            <a:r>
              <a:rPr lang="en-IN" sz="1500" i="1" dirty="0">
                <a:solidFill>
                  <a:srgbClr val="454646"/>
                </a:solidFill>
                <a:latin typeface="Arial" panose="020B0604020202020204" pitchFamily="34" charset="0"/>
                <a:ea typeface="Proxima Nova"/>
                <a:cs typeface="Arial" panose="020B0604020202020204" pitchFamily="34" charset="0"/>
                <a:sym typeface="Proxima Nova"/>
              </a:rPr>
              <a:t>Sub-tasks, alternatives, exceptions, etc.</a:t>
            </a:r>
            <a:endParaRPr sz="1500" dirty="0">
              <a:latin typeface="Arial" panose="020B0604020202020204" pitchFamily="34" charset="0"/>
              <a:ea typeface="Proxima Nova"/>
              <a:cs typeface="Arial" panose="020B0604020202020204" pitchFamily="34" charset="0"/>
              <a:sym typeface="Proxima Nova"/>
            </a:endParaRPr>
          </a:p>
        </p:txBody>
      </p:sp>
      <p:sp>
        <p:nvSpPr>
          <p:cNvPr id="638" name="Google Shape;638;p60"/>
          <p:cNvSpPr/>
          <p:nvPr/>
        </p:nvSpPr>
        <p:spPr>
          <a:xfrm>
            <a:off x="2141551" y="2615302"/>
            <a:ext cx="866775" cy="555308"/>
          </a:xfrm>
          <a:custGeom>
            <a:avLst/>
            <a:gdLst/>
            <a:ahLst/>
            <a:cxnLst/>
            <a:rect l="l" t="t" r="r" b="b"/>
            <a:pathLst>
              <a:path w="1155700" h="740410" extrusionOk="0">
                <a:moveTo>
                  <a:pt x="1138718" y="695681"/>
                </a:moveTo>
                <a:lnTo>
                  <a:pt x="1079282" y="695681"/>
                </a:lnTo>
                <a:lnTo>
                  <a:pt x="1091968" y="696278"/>
                </a:lnTo>
                <a:lnTo>
                  <a:pt x="1091373" y="708964"/>
                </a:lnTo>
                <a:lnTo>
                  <a:pt x="1078776" y="708964"/>
                </a:lnTo>
                <a:lnTo>
                  <a:pt x="1077840" y="740324"/>
                </a:lnTo>
                <a:lnTo>
                  <a:pt x="1145538" y="708964"/>
                </a:lnTo>
                <a:lnTo>
                  <a:pt x="1091373" y="708964"/>
                </a:lnTo>
                <a:lnTo>
                  <a:pt x="1078793" y="708372"/>
                </a:lnTo>
                <a:lnTo>
                  <a:pt x="1146827" y="708367"/>
                </a:lnTo>
                <a:lnTo>
                  <a:pt x="1155142" y="704515"/>
                </a:lnTo>
                <a:lnTo>
                  <a:pt x="1138718" y="695681"/>
                </a:lnTo>
                <a:close/>
              </a:path>
              <a:path w="1155700" h="740410" extrusionOk="0">
                <a:moveTo>
                  <a:pt x="1079282" y="695681"/>
                </a:moveTo>
                <a:lnTo>
                  <a:pt x="1078980" y="702128"/>
                </a:lnTo>
                <a:lnTo>
                  <a:pt x="1078793" y="708372"/>
                </a:lnTo>
                <a:lnTo>
                  <a:pt x="1091373" y="708964"/>
                </a:lnTo>
                <a:lnTo>
                  <a:pt x="1091968" y="696278"/>
                </a:lnTo>
                <a:lnTo>
                  <a:pt x="1079282" y="695681"/>
                </a:lnTo>
                <a:close/>
              </a:path>
              <a:path w="1155700" h="740410" extrusionOk="0">
                <a:moveTo>
                  <a:pt x="1078980" y="702128"/>
                </a:moveTo>
                <a:lnTo>
                  <a:pt x="1078868" y="704515"/>
                </a:lnTo>
                <a:lnTo>
                  <a:pt x="1078793" y="708372"/>
                </a:lnTo>
                <a:lnTo>
                  <a:pt x="1078980" y="702128"/>
                </a:lnTo>
                <a:close/>
              </a:path>
              <a:path w="1155700" h="740410" extrusionOk="0">
                <a:moveTo>
                  <a:pt x="1080113" y="664159"/>
                </a:moveTo>
                <a:lnTo>
                  <a:pt x="1078980" y="702128"/>
                </a:lnTo>
                <a:lnTo>
                  <a:pt x="1079282" y="695681"/>
                </a:lnTo>
                <a:lnTo>
                  <a:pt x="1138718" y="695681"/>
                </a:lnTo>
                <a:lnTo>
                  <a:pt x="1080113" y="664159"/>
                </a:lnTo>
                <a:close/>
              </a:path>
              <a:path w="1155700" h="740410" extrusionOk="0">
                <a:moveTo>
                  <a:pt x="1028835" y="692618"/>
                </a:moveTo>
                <a:lnTo>
                  <a:pt x="1027738" y="705271"/>
                </a:lnTo>
                <a:lnTo>
                  <a:pt x="1040391" y="706368"/>
                </a:lnTo>
                <a:lnTo>
                  <a:pt x="1041488" y="693715"/>
                </a:lnTo>
                <a:lnTo>
                  <a:pt x="1028835" y="692618"/>
                </a:lnTo>
                <a:close/>
              </a:path>
              <a:path w="1155700" h="740410" extrusionOk="0">
                <a:moveTo>
                  <a:pt x="978482" y="687778"/>
                </a:moveTo>
                <a:lnTo>
                  <a:pt x="976970" y="700387"/>
                </a:lnTo>
                <a:lnTo>
                  <a:pt x="989578" y="701901"/>
                </a:lnTo>
                <a:lnTo>
                  <a:pt x="991092" y="689291"/>
                </a:lnTo>
                <a:lnTo>
                  <a:pt x="978482" y="687778"/>
                </a:lnTo>
                <a:close/>
              </a:path>
              <a:path w="1155700" h="740410" extrusionOk="0">
                <a:moveTo>
                  <a:pt x="928306" y="681361"/>
                </a:moveTo>
                <a:lnTo>
                  <a:pt x="926377" y="693912"/>
                </a:lnTo>
                <a:lnTo>
                  <a:pt x="938328" y="695750"/>
                </a:lnTo>
                <a:lnTo>
                  <a:pt x="939142" y="695848"/>
                </a:lnTo>
                <a:lnTo>
                  <a:pt x="940654" y="683238"/>
                </a:lnTo>
                <a:lnTo>
                  <a:pt x="939971" y="683153"/>
                </a:lnTo>
                <a:lnTo>
                  <a:pt x="928306" y="681361"/>
                </a:lnTo>
                <a:close/>
              </a:path>
              <a:path w="1155700" h="740410" extrusionOk="0">
                <a:moveTo>
                  <a:pt x="940064" y="683167"/>
                </a:moveTo>
                <a:close/>
              </a:path>
              <a:path w="1155700" h="740410" extrusionOk="0">
                <a:moveTo>
                  <a:pt x="939971" y="683153"/>
                </a:moveTo>
                <a:close/>
              </a:path>
              <a:path w="1155700" h="740410" extrusionOk="0">
                <a:moveTo>
                  <a:pt x="878361" y="673348"/>
                </a:moveTo>
                <a:lnTo>
                  <a:pt x="876015" y="685830"/>
                </a:lnTo>
                <a:lnTo>
                  <a:pt x="885972" y="687702"/>
                </a:lnTo>
                <a:lnTo>
                  <a:pt x="888719" y="688124"/>
                </a:lnTo>
                <a:lnTo>
                  <a:pt x="890649" y="675572"/>
                </a:lnTo>
                <a:lnTo>
                  <a:pt x="888024" y="675166"/>
                </a:lnTo>
                <a:lnTo>
                  <a:pt x="878361" y="673348"/>
                </a:lnTo>
                <a:close/>
              </a:path>
              <a:path w="1155700" h="740410" extrusionOk="0">
                <a:moveTo>
                  <a:pt x="888110" y="675182"/>
                </a:moveTo>
                <a:close/>
              </a:path>
              <a:path w="1155700" h="740410" extrusionOk="0">
                <a:moveTo>
                  <a:pt x="888024" y="675166"/>
                </a:moveTo>
                <a:close/>
              </a:path>
              <a:path w="1155700" h="740410" extrusionOk="0">
                <a:moveTo>
                  <a:pt x="828701" y="663724"/>
                </a:moveTo>
                <a:lnTo>
                  <a:pt x="825939" y="676120"/>
                </a:lnTo>
                <a:lnTo>
                  <a:pt x="834473" y="678022"/>
                </a:lnTo>
                <a:lnTo>
                  <a:pt x="838570" y="678792"/>
                </a:lnTo>
                <a:lnTo>
                  <a:pt x="840916" y="666310"/>
                </a:lnTo>
                <a:lnTo>
                  <a:pt x="836945" y="665561"/>
                </a:lnTo>
                <a:lnTo>
                  <a:pt x="828701" y="663724"/>
                </a:lnTo>
                <a:close/>
              </a:path>
              <a:path w="1155700" h="740410" extrusionOk="0">
                <a:moveTo>
                  <a:pt x="837052" y="665585"/>
                </a:moveTo>
                <a:close/>
              </a:path>
              <a:path w="1155700" h="740410" extrusionOk="0">
                <a:moveTo>
                  <a:pt x="836945" y="665561"/>
                </a:moveTo>
                <a:close/>
              </a:path>
              <a:path w="1155700" h="740410" extrusionOk="0">
                <a:moveTo>
                  <a:pt x="779388" y="652466"/>
                </a:moveTo>
                <a:lnTo>
                  <a:pt x="776208" y="664761"/>
                </a:lnTo>
                <a:lnTo>
                  <a:pt x="783894" y="666749"/>
                </a:lnTo>
                <a:lnTo>
                  <a:pt x="788751" y="667832"/>
                </a:lnTo>
                <a:lnTo>
                  <a:pt x="791514" y="655435"/>
                </a:lnTo>
                <a:lnTo>
                  <a:pt x="786774" y="654376"/>
                </a:lnTo>
                <a:lnTo>
                  <a:pt x="779388" y="652466"/>
                </a:lnTo>
                <a:close/>
              </a:path>
              <a:path w="1155700" h="740410" extrusionOk="0">
                <a:moveTo>
                  <a:pt x="786855" y="654397"/>
                </a:moveTo>
                <a:lnTo>
                  <a:pt x="786989" y="654427"/>
                </a:lnTo>
                <a:lnTo>
                  <a:pt x="786855" y="654397"/>
                </a:lnTo>
                <a:close/>
              </a:path>
              <a:path w="1155700" h="740410" extrusionOk="0">
                <a:moveTo>
                  <a:pt x="786774" y="654376"/>
                </a:moveTo>
                <a:close/>
              </a:path>
              <a:path w="1155700" h="740410" extrusionOk="0">
                <a:moveTo>
                  <a:pt x="730486" y="639552"/>
                </a:moveTo>
                <a:lnTo>
                  <a:pt x="726888" y="651733"/>
                </a:lnTo>
                <a:lnTo>
                  <a:pt x="734292" y="653920"/>
                </a:lnTo>
                <a:lnTo>
                  <a:pt x="739322" y="655222"/>
                </a:lnTo>
                <a:lnTo>
                  <a:pt x="742502" y="642926"/>
                </a:lnTo>
                <a:lnTo>
                  <a:pt x="737592" y="641652"/>
                </a:lnTo>
                <a:lnTo>
                  <a:pt x="730486" y="639552"/>
                </a:lnTo>
                <a:close/>
              </a:path>
              <a:path w="1155700" h="740410" extrusionOk="0">
                <a:moveTo>
                  <a:pt x="737705" y="641685"/>
                </a:moveTo>
                <a:close/>
              </a:path>
              <a:path w="1155700" h="740410" extrusionOk="0">
                <a:moveTo>
                  <a:pt x="737592" y="641652"/>
                </a:moveTo>
                <a:close/>
              </a:path>
              <a:path w="1155700" h="740410" extrusionOk="0">
                <a:moveTo>
                  <a:pt x="682059" y="624963"/>
                </a:moveTo>
                <a:lnTo>
                  <a:pt x="678042" y="637011"/>
                </a:lnTo>
                <a:lnTo>
                  <a:pt x="685727" y="639573"/>
                </a:lnTo>
                <a:lnTo>
                  <a:pt x="690349" y="640938"/>
                </a:lnTo>
                <a:lnTo>
                  <a:pt x="693947" y="628759"/>
                </a:lnTo>
                <a:lnTo>
                  <a:pt x="689446" y="627425"/>
                </a:lnTo>
                <a:lnTo>
                  <a:pt x="682059" y="624963"/>
                </a:lnTo>
                <a:close/>
              </a:path>
              <a:path w="1155700" h="740410" extrusionOk="0">
                <a:moveTo>
                  <a:pt x="689564" y="627465"/>
                </a:moveTo>
                <a:close/>
              </a:path>
              <a:path w="1155700" h="740410" extrusionOk="0">
                <a:moveTo>
                  <a:pt x="689446" y="627425"/>
                </a:moveTo>
                <a:close/>
              </a:path>
              <a:path w="1155700" h="740410" extrusionOk="0">
                <a:moveTo>
                  <a:pt x="634183" y="608671"/>
                </a:moveTo>
                <a:lnTo>
                  <a:pt x="629746" y="620570"/>
                </a:lnTo>
                <a:lnTo>
                  <a:pt x="638262" y="623746"/>
                </a:lnTo>
                <a:lnTo>
                  <a:pt x="641898" y="624959"/>
                </a:lnTo>
                <a:lnTo>
                  <a:pt x="645915" y="612910"/>
                </a:lnTo>
                <a:lnTo>
                  <a:pt x="642398" y="611734"/>
                </a:lnTo>
                <a:lnTo>
                  <a:pt x="634183" y="608671"/>
                </a:lnTo>
                <a:close/>
              </a:path>
              <a:path w="1155700" h="740410" extrusionOk="0">
                <a:moveTo>
                  <a:pt x="642509" y="611776"/>
                </a:moveTo>
                <a:close/>
              </a:path>
              <a:path w="1155700" h="740410" extrusionOk="0">
                <a:moveTo>
                  <a:pt x="642398" y="611734"/>
                </a:moveTo>
                <a:close/>
              </a:path>
              <a:path w="1155700" h="740410" extrusionOk="0">
                <a:moveTo>
                  <a:pt x="586934" y="590651"/>
                </a:moveTo>
                <a:lnTo>
                  <a:pt x="582075" y="602385"/>
                </a:lnTo>
                <a:lnTo>
                  <a:pt x="591955" y="606478"/>
                </a:lnTo>
                <a:lnTo>
                  <a:pt x="594047" y="607258"/>
                </a:lnTo>
                <a:lnTo>
                  <a:pt x="598484" y="595358"/>
                </a:lnTo>
                <a:lnTo>
                  <a:pt x="596508" y="594617"/>
                </a:lnTo>
                <a:lnTo>
                  <a:pt x="586934" y="590651"/>
                </a:lnTo>
                <a:close/>
              </a:path>
              <a:path w="1155700" h="740410" extrusionOk="0">
                <a:moveTo>
                  <a:pt x="596585" y="594649"/>
                </a:moveTo>
                <a:lnTo>
                  <a:pt x="596724" y="594701"/>
                </a:lnTo>
                <a:lnTo>
                  <a:pt x="596585" y="594649"/>
                </a:lnTo>
                <a:close/>
              </a:path>
              <a:path w="1155700" h="740410" extrusionOk="0">
                <a:moveTo>
                  <a:pt x="596508" y="594617"/>
                </a:moveTo>
                <a:close/>
              </a:path>
              <a:path w="1155700" h="740410" extrusionOk="0">
                <a:moveTo>
                  <a:pt x="540398" y="570878"/>
                </a:moveTo>
                <a:lnTo>
                  <a:pt x="535115" y="582427"/>
                </a:lnTo>
                <a:lnTo>
                  <a:pt x="546663" y="587710"/>
                </a:lnTo>
                <a:lnTo>
                  <a:pt x="551948" y="576162"/>
                </a:lnTo>
                <a:lnTo>
                  <a:pt x="540398" y="570878"/>
                </a:lnTo>
                <a:close/>
              </a:path>
              <a:path w="1155700" h="740410" extrusionOk="0">
                <a:moveTo>
                  <a:pt x="494667" y="549323"/>
                </a:moveTo>
                <a:lnTo>
                  <a:pt x="488958" y="560668"/>
                </a:lnTo>
                <a:lnTo>
                  <a:pt x="500303" y="566376"/>
                </a:lnTo>
                <a:lnTo>
                  <a:pt x="506012" y="555031"/>
                </a:lnTo>
                <a:lnTo>
                  <a:pt x="494667" y="549323"/>
                </a:lnTo>
                <a:close/>
              </a:path>
              <a:path w="1155700" h="740410" extrusionOk="0">
                <a:moveTo>
                  <a:pt x="449842" y="525956"/>
                </a:moveTo>
                <a:lnTo>
                  <a:pt x="443707" y="537075"/>
                </a:lnTo>
                <a:lnTo>
                  <a:pt x="454826" y="543212"/>
                </a:lnTo>
                <a:lnTo>
                  <a:pt x="460961" y="532091"/>
                </a:lnTo>
                <a:lnTo>
                  <a:pt x="449842" y="525956"/>
                </a:lnTo>
                <a:close/>
              </a:path>
              <a:path w="1155700" h="740410" extrusionOk="0">
                <a:moveTo>
                  <a:pt x="406034" y="500749"/>
                </a:moveTo>
                <a:lnTo>
                  <a:pt x="399469" y="511620"/>
                </a:lnTo>
                <a:lnTo>
                  <a:pt x="410340" y="518185"/>
                </a:lnTo>
                <a:lnTo>
                  <a:pt x="416905" y="507314"/>
                </a:lnTo>
                <a:lnTo>
                  <a:pt x="406034" y="500749"/>
                </a:lnTo>
                <a:close/>
              </a:path>
              <a:path w="1155700" h="740410" extrusionOk="0">
                <a:moveTo>
                  <a:pt x="363363" y="473674"/>
                </a:moveTo>
                <a:lnTo>
                  <a:pt x="356368" y="484273"/>
                </a:lnTo>
                <a:lnTo>
                  <a:pt x="366969" y="491269"/>
                </a:lnTo>
                <a:lnTo>
                  <a:pt x="373964" y="480669"/>
                </a:lnTo>
                <a:lnTo>
                  <a:pt x="363363" y="473674"/>
                </a:lnTo>
                <a:close/>
              </a:path>
              <a:path w="1155700" h="740410" extrusionOk="0">
                <a:moveTo>
                  <a:pt x="321965" y="444703"/>
                </a:moveTo>
                <a:lnTo>
                  <a:pt x="314539" y="455005"/>
                </a:lnTo>
                <a:lnTo>
                  <a:pt x="324841" y="462432"/>
                </a:lnTo>
                <a:lnTo>
                  <a:pt x="332267" y="452130"/>
                </a:lnTo>
                <a:lnTo>
                  <a:pt x="321965" y="444703"/>
                </a:lnTo>
                <a:close/>
              </a:path>
              <a:path w="1155700" h="740410" extrusionOk="0">
                <a:moveTo>
                  <a:pt x="281985" y="413815"/>
                </a:moveTo>
                <a:lnTo>
                  <a:pt x="274128" y="423792"/>
                </a:lnTo>
                <a:lnTo>
                  <a:pt x="284105" y="431650"/>
                </a:lnTo>
                <a:lnTo>
                  <a:pt x="291962" y="421673"/>
                </a:lnTo>
                <a:lnTo>
                  <a:pt x="281985" y="413815"/>
                </a:lnTo>
                <a:close/>
              </a:path>
              <a:path w="1155700" h="740410" extrusionOk="0">
                <a:moveTo>
                  <a:pt x="243886" y="381088"/>
                </a:moveTo>
                <a:lnTo>
                  <a:pt x="235168" y="390324"/>
                </a:lnTo>
                <a:lnTo>
                  <a:pt x="237308" y="392344"/>
                </a:lnTo>
                <a:lnTo>
                  <a:pt x="244919" y="398900"/>
                </a:lnTo>
                <a:lnTo>
                  <a:pt x="253208" y="389279"/>
                </a:lnTo>
                <a:lnTo>
                  <a:pt x="245717" y="382817"/>
                </a:lnTo>
                <a:lnTo>
                  <a:pt x="243886" y="381088"/>
                </a:lnTo>
                <a:close/>
              </a:path>
              <a:path w="1155700" h="740410" extrusionOk="0">
                <a:moveTo>
                  <a:pt x="245823" y="382917"/>
                </a:moveTo>
                <a:close/>
              </a:path>
              <a:path w="1155700" h="740410" extrusionOk="0">
                <a:moveTo>
                  <a:pt x="245717" y="382817"/>
                </a:moveTo>
                <a:close/>
              </a:path>
              <a:path w="1155700" h="740410" extrusionOk="0">
                <a:moveTo>
                  <a:pt x="207511" y="346069"/>
                </a:moveTo>
                <a:lnTo>
                  <a:pt x="198370" y="354884"/>
                </a:lnTo>
                <a:lnTo>
                  <a:pt x="205916" y="362713"/>
                </a:lnTo>
                <a:lnTo>
                  <a:pt x="207462" y="364171"/>
                </a:lnTo>
                <a:lnTo>
                  <a:pt x="216180" y="354937"/>
                </a:lnTo>
                <a:lnTo>
                  <a:pt x="214751" y="353579"/>
                </a:lnTo>
                <a:lnTo>
                  <a:pt x="207511" y="346069"/>
                </a:lnTo>
                <a:close/>
              </a:path>
              <a:path w="1155700" h="740410" extrusionOk="0">
                <a:moveTo>
                  <a:pt x="214841" y="353672"/>
                </a:moveTo>
                <a:close/>
              </a:path>
              <a:path w="1155700" h="740410" extrusionOk="0">
                <a:moveTo>
                  <a:pt x="214751" y="353579"/>
                </a:moveTo>
                <a:close/>
              </a:path>
              <a:path w="1155700" h="740410" extrusionOk="0">
                <a:moveTo>
                  <a:pt x="173151" y="309093"/>
                </a:moveTo>
                <a:lnTo>
                  <a:pt x="163589" y="317453"/>
                </a:lnTo>
                <a:lnTo>
                  <a:pt x="171949" y="327014"/>
                </a:lnTo>
                <a:lnTo>
                  <a:pt x="181510" y="318655"/>
                </a:lnTo>
                <a:lnTo>
                  <a:pt x="173151" y="309093"/>
                </a:lnTo>
                <a:close/>
              </a:path>
              <a:path w="1155700" h="740410" extrusionOk="0">
                <a:moveTo>
                  <a:pt x="141019" y="270183"/>
                </a:moveTo>
                <a:lnTo>
                  <a:pt x="131048" y="278048"/>
                </a:lnTo>
                <a:lnTo>
                  <a:pt x="138913" y="288019"/>
                </a:lnTo>
                <a:lnTo>
                  <a:pt x="148885" y="280154"/>
                </a:lnTo>
                <a:lnTo>
                  <a:pt x="141019" y="270183"/>
                </a:lnTo>
                <a:close/>
              </a:path>
              <a:path w="1155700" h="740410" extrusionOk="0">
                <a:moveTo>
                  <a:pt x="111345" y="229377"/>
                </a:moveTo>
                <a:lnTo>
                  <a:pt x="100976" y="236710"/>
                </a:lnTo>
                <a:lnTo>
                  <a:pt x="108309" y="247079"/>
                </a:lnTo>
                <a:lnTo>
                  <a:pt x="118678" y="239746"/>
                </a:lnTo>
                <a:lnTo>
                  <a:pt x="111345" y="229377"/>
                </a:lnTo>
                <a:close/>
              </a:path>
              <a:path w="1155700" h="740410" extrusionOk="0">
                <a:moveTo>
                  <a:pt x="84917" y="186833"/>
                </a:moveTo>
                <a:lnTo>
                  <a:pt x="73803" y="192981"/>
                </a:lnTo>
                <a:lnTo>
                  <a:pt x="77589" y="199824"/>
                </a:lnTo>
                <a:lnTo>
                  <a:pt x="80375" y="204256"/>
                </a:lnTo>
                <a:lnTo>
                  <a:pt x="91127" y="197496"/>
                </a:lnTo>
                <a:lnTo>
                  <a:pt x="88521" y="193361"/>
                </a:lnTo>
                <a:lnTo>
                  <a:pt x="84917" y="186833"/>
                </a:lnTo>
                <a:close/>
              </a:path>
              <a:path w="1155700" h="740410" extrusionOk="0">
                <a:moveTo>
                  <a:pt x="88527" y="193361"/>
                </a:moveTo>
                <a:lnTo>
                  <a:pt x="88615" y="193521"/>
                </a:lnTo>
                <a:lnTo>
                  <a:pt x="88527" y="193361"/>
                </a:lnTo>
                <a:close/>
              </a:path>
              <a:path w="1155700" h="740410" extrusionOk="0">
                <a:moveTo>
                  <a:pt x="88446" y="193215"/>
                </a:moveTo>
                <a:lnTo>
                  <a:pt x="88527" y="193361"/>
                </a:lnTo>
                <a:lnTo>
                  <a:pt x="88446" y="193215"/>
                </a:lnTo>
                <a:close/>
              </a:path>
              <a:path w="1155700" h="740410" extrusionOk="0">
                <a:moveTo>
                  <a:pt x="61448" y="142217"/>
                </a:moveTo>
                <a:lnTo>
                  <a:pt x="49998" y="147709"/>
                </a:lnTo>
                <a:lnTo>
                  <a:pt x="55492" y="159160"/>
                </a:lnTo>
                <a:lnTo>
                  <a:pt x="66942" y="153666"/>
                </a:lnTo>
                <a:lnTo>
                  <a:pt x="61448" y="142217"/>
                </a:lnTo>
                <a:close/>
              </a:path>
              <a:path w="1155700" h="740410" extrusionOk="0">
                <a:moveTo>
                  <a:pt x="41245" y="96043"/>
                </a:moveTo>
                <a:lnTo>
                  <a:pt x="29489" y="100844"/>
                </a:lnTo>
                <a:lnTo>
                  <a:pt x="34289" y="112602"/>
                </a:lnTo>
                <a:lnTo>
                  <a:pt x="46047" y="107801"/>
                </a:lnTo>
                <a:lnTo>
                  <a:pt x="41245" y="96043"/>
                </a:lnTo>
                <a:close/>
              </a:path>
              <a:path w="1155700" h="740410" extrusionOk="0">
                <a:moveTo>
                  <a:pt x="24761" y="48846"/>
                </a:moveTo>
                <a:lnTo>
                  <a:pt x="12499" y="52156"/>
                </a:lnTo>
                <a:lnTo>
                  <a:pt x="13026" y="54108"/>
                </a:lnTo>
                <a:lnTo>
                  <a:pt x="16578" y="64599"/>
                </a:lnTo>
                <a:lnTo>
                  <a:pt x="28608" y="60528"/>
                </a:lnTo>
                <a:lnTo>
                  <a:pt x="25248" y="50605"/>
                </a:lnTo>
                <a:lnTo>
                  <a:pt x="24761" y="48846"/>
                </a:lnTo>
                <a:close/>
              </a:path>
              <a:path w="1155700" h="740410" extrusionOk="0">
                <a:moveTo>
                  <a:pt x="25188" y="50428"/>
                </a:moveTo>
                <a:lnTo>
                  <a:pt x="25236" y="50605"/>
                </a:lnTo>
                <a:lnTo>
                  <a:pt x="25188" y="50428"/>
                </a:lnTo>
                <a:close/>
              </a:path>
              <a:path w="1155700" h="740410" extrusionOk="0">
                <a:moveTo>
                  <a:pt x="25133" y="50224"/>
                </a:moveTo>
                <a:lnTo>
                  <a:pt x="25188" y="50428"/>
                </a:lnTo>
                <a:lnTo>
                  <a:pt x="25133" y="50224"/>
                </a:lnTo>
                <a:close/>
              </a:path>
              <a:path w="1155700" h="740410" extrusionOk="0">
                <a:moveTo>
                  <a:pt x="12447" y="0"/>
                </a:moveTo>
                <a:lnTo>
                  <a:pt x="0" y="2520"/>
                </a:lnTo>
                <a:lnTo>
                  <a:pt x="2519" y="14968"/>
                </a:lnTo>
                <a:lnTo>
                  <a:pt x="14966" y="12448"/>
                </a:lnTo>
                <a:lnTo>
                  <a:pt x="12447" y="0"/>
                </a:lnTo>
                <a:close/>
              </a:path>
            </a:pathLst>
          </a:custGeom>
          <a:solidFill>
            <a:srgbClr val="1B2429"/>
          </a:solidFill>
          <a:ln>
            <a:noFill/>
          </a:ln>
        </p:spPr>
        <p:txBody>
          <a:bodyPr spcFirstLastPara="1" wrap="square" lIns="0" tIns="0" rIns="0" bIns="0" anchor="t" anchorCtr="0">
            <a:noAutofit/>
          </a:bodyPr>
          <a:lstStyle/>
          <a:p>
            <a:endParaRPr sz="1050" dirty="0"/>
          </a:p>
        </p:txBody>
      </p:sp>
      <p:sp>
        <p:nvSpPr>
          <p:cNvPr id="639" name="Google Shape;639;p60"/>
          <p:cNvSpPr txBox="1"/>
          <p:nvPr/>
        </p:nvSpPr>
        <p:spPr>
          <a:xfrm>
            <a:off x="629537" y="3727615"/>
            <a:ext cx="1902150" cy="530884"/>
          </a:xfrm>
          <a:prstGeom prst="rect">
            <a:avLst/>
          </a:prstGeom>
          <a:noFill/>
          <a:ln>
            <a:noFill/>
          </a:ln>
        </p:spPr>
        <p:txBody>
          <a:bodyPr spcFirstLastPara="1" wrap="square" lIns="68569" tIns="34275" rIns="68569" bIns="34275" anchor="t" anchorCtr="0">
            <a:spAutoFit/>
          </a:bodyPr>
          <a:lstStyle/>
          <a:p>
            <a:r>
              <a:rPr lang="en-IN" sz="1500" dirty="0">
                <a:latin typeface="Arial" panose="020B0604020202020204" pitchFamily="34" charset="0"/>
                <a:ea typeface="Proxima Nova"/>
                <a:cs typeface="Arial" panose="020B0604020202020204" pitchFamily="34" charset="0"/>
                <a:sym typeface="Proxima Nova"/>
              </a:rPr>
              <a:t>Then this way, i.e., depth</a:t>
            </a:r>
            <a:endParaRPr sz="1350" dirty="0">
              <a:latin typeface="Arial" panose="020B0604020202020204" pitchFamily="34" charset="0"/>
              <a:ea typeface="Proxima Nova"/>
              <a:cs typeface="Arial" panose="020B0604020202020204" pitchFamily="34" charset="0"/>
              <a:sym typeface="Proxima Nova"/>
            </a:endParaRPr>
          </a:p>
        </p:txBody>
      </p:sp>
      <p:cxnSp>
        <p:nvCxnSpPr>
          <p:cNvPr id="640" name="Google Shape;640;p60"/>
          <p:cNvCxnSpPr/>
          <p:nvPr/>
        </p:nvCxnSpPr>
        <p:spPr>
          <a:xfrm rot="5400000">
            <a:off x="1878224" y="3981530"/>
            <a:ext cx="1424601" cy="0"/>
          </a:xfrm>
          <a:prstGeom prst="straightConnector1">
            <a:avLst/>
          </a:prstGeom>
          <a:noFill/>
          <a:ln w="19050" cap="flat" cmpd="sng">
            <a:solidFill>
              <a:srgbClr val="EB792A"/>
            </a:solidFill>
            <a:prstDash val="solid"/>
            <a:round/>
            <a:headEnd type="none" w="sm" len="sm"/>
            <a:tailEnd type="stealth" w="med" len="med"/>
          </a:ln>
        </p:spPr>
      </p:cxnSp>
      <p:sp>
        <p:nvSpPr>
          <p:cNvPr id="641" name="Google Shape;641;p60"/>
          <p:cNvSpPr txBox="1">
            <a:spLocks noGrp="1"/>
          </p:cNvSpPr>
          <p:nvPr>
            <p:ph type="sldNum" idx="12"/>
          </p:nvPr>
        </p:nvSpPr>
        <p:spPr>
          <a:xfrm>
            <a:off x="8556784" y="4749851"/>
            <a:ext cx="548775" cy="393525"/>
          </a:xfrm>
          <a:prstGeom prst="rect">
            <a:avLst/>
          </a:prstGeom>
        </p:spPr>
        <p:txBody>
          <a:bodyPr spcFirstLastPara="1" wrap="square" lIns="91425" tIns="91425" rIns="91425" bIns="91425" anchor="t" anchorCtr="0">
            <a:noAutofit/>
          </a:bodyPr>
          <a:lstStyle/>
          <a:p>
            <a:pPr>
              <a:buSzPts val="1700"/>
            </a:pPr>
            <a:fld id="{00000000-1234-1234-1234-123412341234}" type="slidenum">
              <a:rPr lang="en-IN"/>
              <a:pPr>
                <a:buSzPts val="1700"/>
              </a:pPr>
              <a:t>28</a:t>
            </a:fld>
            <a:endParaRPr dirty="0"/>
          </a:p>
        </p:txBody>
      </p:sp>
      <p:pic>
        <p:nvPicPr>
          <p:cNvPr id="2" name="Graphic 1" descr="Lock with solid fill">
            <a:extLst>
              <a:ext uri="{FF2B5EF4-FFF2-40B4-BE49-F238E27FC236}">
                <a16:creationId xmlns:a16="http://schemas.microsoft.com/office/drawing/2014/main" id="{A6BD4B3C-F52A-AEC8-B2F3-7ED5C7F44E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1924" y="3194677"/>
            <a:ext cx="301034" cy="301034"/>
          </a:xfrm>
          <a:prstGeom prst="rect">
            <a:avLst/>
          </a:prstGeom>
        </p:spPr>
      </p:pic>
      <p:pic>
        <p:nvPicPr>
          <p:cNvPr id="3" name="Graphic 2" descr="Lock with solid fill">
            <a:extLst>
              <a:ext uri="{FF2B5EF4-FFF2-40B4-BE49-F238E27FC236}">
                <a16:creationId xmlns:a16="http://schemas.microsoft.com/office/drawing/2014/main" id="{26FE656C-4010-80B6-BCE5-F50F5B5D04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0641" y="3194677"/>
            <a:ext cx="301034" cy="301034"/>
          </a:xfrm>
          <a:prstGeom prst="rect">
            <a:avLst/>
          </a:prstGeom>
        </p:spPr>
      </p:pic>
      <p:pic>
        <p:nvPicPr>
          <p:cNvPr id="4" name="Graphic 3" descr="Lock with solid fill">
            <a:extLst>
              <a:ext uri="{FF2B5EF4-FFF2-40B4-BE49-F238E27FC236}">
                <a16:creationId xmlns:a16="http://schemas.microsoft.com/office/drawing/2014/main" id="{D8ACD1B9-67D4-B282-80D5-892E62FE06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49358" y="3194677"/>
            <a:ext cx="301034" cy="301034"/>
          </a:xfrm>
          <a:prstGeom prst="rect">
            <a:avLst/>
          </a:prstGeom>
        </p:spPr>
      </p:pic>
      <p:pic>
        <p:nvPicPr>
          <p:cNvPr id="5" name="Graphic 4" descr="Lock with solid fill">
            <a:extLst>
              <a:ext uri="{FF2B5EF4-FFF2-40B4-BE49-F238E27FC236}">
                <a16:creationId xmlns:a16="http://schemas.microsoft.com/office/drawing/2014/main" id="{83FCF7C3-4966-E2E3-2E48-05BDAFFA8B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70932" y="3194677"/>
            <a:ext cx="301034" cy="301034"/>
          </a:xfrm>
          <a:prstGeom prst="rect">
            <a:avLst/>
          </a:prstGeom>
        </p:spPr>
      </p:pic>
      <p:pic>
        <p:nvPicPr>
          <p:cNvPr id="6" name="Graphic 5" descr="Lock with solid fill">
            <a:extLst>
              <a:ext uri="{FF2B5EF4-FFF2-40B4-BE49-F238E27FC236}">
                <a16:creationId xmlns:a16="http://schemas.microsoft.com/office/drawing/2014/main" id="{01576B46-2103-DBA6-3773-218BB50543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04225" y="3194677"/>
            <a:ext cx="301034" cy="301034"/>
          </a:xfrm>
          <a:prstGeom prst="rect">
            <a:avLst/>
          </a:prstGeom>
        </p:spPr>
      </p:pic>
      <p:pic>
        <p:nvPicPr>
          <p:cNvPr id="7" name="Graphic 6" descr="Lock with solid fill">
            <a:extLst>
              <a:ext uri="{FF2B5EF4-FFF2-40B4-BE49-F238E27FC236}">
                <a16:creationId xmlns:a16="http://schemas.microsoft.com/office/drawing/2014/main" id="{9B0161A4-D515-5079-819A-CA1670C6DC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0641" y="3765230"/>
            <a:ext cx="301034" cy="301034"/>
          </a:xfrm>
          <a:prstGeom prst="rect">
            <a:avLst/>
          </a:prstGeom>
        </p:spPr>
      </p:pic>
      <p:pic>
        <p:nvPicPr>
          <p:cNvPr id="8" name="Graphic 7" descr="Lock with solid fill">
            <a:extLst>
              <a:ext uri="{FF2B5EF4-FFF2-40B4-BE49-F238E27FC236}">
                <a16:creationId xmlns:a16="http://schemas.microsoft.com/office/drawing/2014/main" id="{06E5B537-4D20-856F-E84E-BC7FC4788B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82953" y="3765230"/>
            <a:ext cx="301034" cy="301034"/>
          </a:xfrm>
          <a:prstGeom prst="rect">
            <a:avLst/>
          </a:prstGeom>
        </p:spPr>
      </p:pic>
      <p:pic>
        <p:nvPicPr>
          <p:cNvPr id="9" name="Graphic 8" descr="Lock with solid fill">
            <a:extLst>
              <a:ext uri="{FF2B5EF4-FFF2-40B4-BE49-F238E27FC236}">
                <a16:creationId xmlns:a16="http://schemas.microsoft.com/office/drawing/2014/main" id="{8F039181-5EB6-1A9D-B466-73E3E40344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26792" y="3774965"/>
            <a:ext cx="301034" cy="301034"/>
          </a:xfrm>
          <a:prstGeom prst="rect">
            <a:avLst/>
          </a:prstGeom>
        </p:spPr>
      </p:pic>
      <p:pic>
        <p:nvPicPr>
          <p:cNvPr id="10" name="Graphic 9" descr="Lock with solid fill">
            <a:extLst>
              <a:ext uri="{FF2B5EF4-FFF2-40B4-BE49-F238E27FC236}">
                <a16:creationId xmlns:a16="http://schemas.microsoft.com/office/drawing/2014/main" id="{409BC3CA-AC38-2BF1-2EA6-F9B06C92C5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68638" y="4486515"/>
            <a:ext cx="301034" cy="301034"/>
          </a:xfrm>
          <a:prstGeom prst="rect">
            <a:avLst/>
          </a:prstGeom>
        </p:spPr>
      </p:pic>
      <p:pic>
        <p:nvPicPr>
          <p:cNvPr id="11" name="Graphic 10" descr="Lock with solid fill">
            <a:extLst>
              <a:ext uri="{FF2B5EF4-FFF2-40B4-BE49-F238E27FC236}">
                <a16:creationId xmlns:a16="http://schemas.microsoft.com/office/drawing/2014/main" id="{344F56F8-3E69-CC31-6000-9FD8759DC5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2047" y="4490522"/>
            <a:ext cx="301034" cy="301034"/>
          </a:xfrm>
          <a:prstGeom prst="rect">
            <a:avLst/>
          </a:prstGeom>
        </p:spPr>
      </p:pic>
      <p:pic>
        <p:nvPicPr>
          <p:cNvPr id="12" name="Graphic 11" descr="Lock with solid fill">
            <a:extLst>
              <a:ext uri="{FF2B5EF4-FFF2-40B4-BE49-F238E27FC236}">
                <a16:creationId xmlns:a16="http://schemas.microsoft.com/office/drawing/2014/main" id="{C4FBE3B9-80B1-8A83-474A-5B84DF552D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49358" y="4486515"/>
            <a:ext cx="301034" cy="301034"/>
          </a:xfrm>
          <a:prstGeom prst="rect">
            <a:avLst/>
          </a:prstGeom>
        </p:spPr>
      </p:pic>
      <p:pic>
        <p:nvPicPr>
          <p:cNvPr id="13" name="Graphic 12" descr="Lock with solid fill">
            <a:extLst>
              <a:ext uri="{FF2B5EF4-FFF2-40B4-BE49-F238E27FC236}">
                <a16:creationId xmlns:a16="http://schemas.microsoft.com/office/drawing/2014/main" id="{A67D9DC6-BEC0-D4D6-E134-1453FFB56E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26792" y="4486515"/>
            <a:ext cx="301034" cy="30103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3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4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0"/>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1"/>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2"/>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45"/>
        <p:cNvGrpSpPr/>
        <p:nvPr/>
      </p:nvGrpSpPr>
      <p:grpSpPr>
        <a:xfrm>
          <a:off x="0" y="0"/>
          <a:ext cx="0" cy="0"/>
          <a:chOff x="0" y="0"/>
          <a:chExt cx="0" cy="0"/>
        </a:xfrm>
      </p:grpSpPr>
      <p:sp>
        <p:nvSpPr>
          <p:cNvPr id="646" name="Google Shape;646;p61"/>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3200"/>
            </a:pPr>
            <a:r>
              <a:rPr lang="en-IN" dirty="0">
                <a:latin typeface="Arial" panose="020B0604020202020204" pitchFamily="34" charset="0"/>
                <a:ea typeface="Helvetica Neue"/>
                <a:cs typeface="Arial" panose="020B0604020202020204" pitchFamily="34" charset="0"/>
                <a:sym typeface="Helvetica Neue"/>
              </a:rPr>
              <a:t>Release(s) from Story Map</a:t>
            </a:r>
            <a:endParaRPr dirty="0">
              <a:latin typeface="Arial" panose="020B0604020202020204" pitchFamily="34" charset="0"/>
              <a:ea typeface="Helvetica Neue"/>
              <a:cs typeface="Arial" panose="020B0604020202020204" pitchFamily="34" charset="0"/>
              <a:sym typeface="Helvetica Neue"/>
            </a:endParaRPr>
          </a:p>
        </p:txBody>
      </p:sp>
      <p:grpSp>
        <p:nvGrpSpPr>
          <p:cNvPr id="647" name="Google Shape;647;p61"/>
          <p:cNvGrpSpPr/>
          <p:nvPr/>
        </p:nvGrpSpPr>
        <p:grpSpPr>
          <a:xfrm>
            <a:off x="3319445" y="1137877"/>
            <a:ext cx="5053331" cy="3675566"/>
            <a:chOff x="4425927" y="1517169"/>
            <a:chExt cx="6737774" cy="4900754"/>
          </a:xfrm>
        </p:grpSpPr>
        <p:sp>
          <p:nvSpPr>
            <p:cNvPr id="648" name="Google Shape;648;p61"/>
            <p:cNvSpPr/>
            <p:nvPr/>
          </p:nvSpPr>
          <p:spPr>
            <a:xfrm>
              <a:off x="4425927" y="312358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49" name="Google Shape;649;p61"/>
            <p:cNvSpPr/>
            <p:nvPr/>
          </p:nvSpPr>
          <p:spPr>
            <a:xfrm>
              <a:off x="5410883" y="3123581"/>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50" name="Google Shape;650;p61"/>
            <p:cNvSpPr/>
            <p:nvPr/>
          </p:nvSpPr>
          <p:spPr>
            <a:xfrm>
              <a:off x="6395839" y="312358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51" name="Google Shape;651;p61"/>
            <p:cNvSpPr/>
            <p:nvPr/>
          </p:nvSpPr>
          <p:spPr>
            <a:xfrm>
              <a:off x="7380795" y="312358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52" name="Google Shape;652;p61"/>
            <p:cNvSpPr/>
            <p:nvPr/>
          </p:nvSpPr>
          <p:spPr>
            <a:xfrm>
              <a:off x="8365750" y="312358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53" name="Google Shape;653;p61"/>
            <p:cNvSpPr/>
            <p:nvPr/>
          </p:nvSpPr>
          <p:spPr>
            <a:xfrm>
              <a:off x="9350706" y="312358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54" name="Google Shape;654;p61"/>
            <p:cNvSpPr/>
            <p:nvPr/>
          </p:nvSpPr>
          <p:spPr>
            <a:xfrm>
              <a:off x="10335661" y="3123581"/>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5CD574"/>
            </a:solidFill>
            <a:ln>
              <a:noFill/>
            </a:ln>
          </p:spPr>
          <p:txBody>
            <a:bodyPr spcFirstLastPara="1" wrap="square" lIns="0" tIns="0" rIns="0" bIns="0" anchor="t" anchorCtr="0">
              <a:noAutofit/>
            </a:bodyPr>
            <a:lstStyle/>
            <a:p>
              <a:endParaRPr sz="1050" dirty="0"/>
            </a:p>
          </p:txBody>
        </p:sp>
        <p:sp>
          <p:nvSpPr>
            <p:cNvPr id="655" name="Google Shape;655;p61"/>
            <p:cNvSpPr/>
            <p:nvPr/>
          </p:nvSpPr>
          <p:spPr>
            <a:xfrm>
              <a:off x="4425927" y="2378514"/>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656" name="Google Shape;656;p61"/>
            <p:cNvSpPr/>
            <p:nvPr/>
          </p:nvSpPr>
          <p:spPr>
            <a:xfrm>
              <a:off x="6395839" y="237851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657" name="Google Shape;657;p61"/>
            <p:cNvSpPr/>
            <p:nvPr/>
          </p:nvSpPr>
          <p:spPr>
            <a:xfrm>
              <a:off x="9355260" y="2378514"/>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3366FF"/>
            </a:solidFill>
            <a:ln>
              <a:noFill/>
            </a:ln>
          </p:spPr>
          <p:txBody>
            <a:bodyPr spcFirstLastPara="1" wrap="square" lIns="0" tIns="0" rIns="0" bIns="0" anchor="t" anchorCtr="0">
              <a:noAutofit/>
            </a:bodyPr>
            <a:lstStyle/>
            <a:p>
              <a:endParaRPr sz="1050" dirty="0"/>
            </a:p>
          </p:txBody>
        </p:sp>
        <p:sp>
          <p:nvSpPr>
            <p:cNvPr id="658" name="Google Shape;658;p61"/>
            <p:cNvSpPr/>
            <p:nvPr/>
          </p:nvSpPr>
          <p:spPr>
            <a:xfrm>
              <a:off x="4425927" y="582483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59" name="Google Shape;659;p61"/>
            <p:cNvSpPr/>
            <p:nvPr/>
          </p:nvSpPr>
          <p:spPr>
            <a:xfrm>
              <a:off x="5410883" y="5824833"/>
              <a:ext cx="828040" cy="593090"/>
            </a:xfrm>
            <a:custGeom>
              <a:avLst/>
              <a:gdLst/>
              <a:ahLst/>
              <a:cxnLst/>
              <a:rect l="l" t="t" r="r" b="b"/>
              <a:pathLst>
                <a:path w="828039"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60" name="Google Shape;660;p61"/>
            <p:cNvSpPr/>
            <p:nvPr/>
          </p:nvSpPr>
          <p:spPr>
            <a:xfrm>
              <a:off x="6395839" y="582483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61" name="Google Shape;661;p61"/>
            <p:cNvSpPr/>
            <p:nvPr/>
          </p:nvSpPr>
          <p:spPr>
            <a:xfrm>
              <a:off x="8365750" y="5824833"/>
              <a:ext cx="828040" cy="593090"/>
            </a:xfrm>
            <a:custGeom>
              <a:avLst/>
              <a:gdLst/>
              <a:ahLst/>
              <a:cxnLst/>
              <a:rect l="l" t="t" r="r" b="b"/>
              <a:pathLst>
                <a:path w="828040" h="593089" extrusionOk="0">
                  <a:moveTo>
                    <a:pt x="827999" y="0"/>
                  </a:moveTo>
                  <a:lnTo>
                    <a:pt x="0" y="0"/>
                  </a:lnTo>
                  <a:lnTo>
                    <a:pt x="0" y="592666"/>
                  </a:lnTo>
                  <a:lnTo>
                    <a:pt x="827999" y="592666"/>
                  </a:lnTo>
                  <a:lnTo>
                    <a:pt x="827999" y="0"/>
                  </a:lnTo>
                  <a:close/>
                </a:path>
              </a:pathLst>
            </a:custGeom>
            <a:solidFill>
              <a:srgbClr val="FBFF69"/>
            </a:solidFill>
            <a:ln>
              <a:noFill/>
            </a:ln>
          </p:spPr>
          <p:txBody>
            <a:bodyPr spcFirstLastPara="1" wrap="square" lIns="0" tIns="0" rIns="0" bIns="0" anchor="t" anchorCtr="0">
              <a:noAutofit/>
            </a:bodyPr>
            <a:lstStyle/>
            <a:p>
              <a:endParaRPr sz="1050" dirty="0"/>
            </a:p>
          </p:txBody>
        </p:sp>
        <p:grpSp>
          <p:nvGrpSpPr>
            <p:cNvPr id="662" name="Google Shape;662;p61"/>
            <p:cNvGrpSpPr/>
            <p:nvPr/>
          </p:nvGrpSpPr>
          <p:grpSpPr>
            <a:xfrm>
              <a:off x="4537527" y="1517169"/>
              <a:ext cx="605155" cy="690880"/>
              <a:chOff x="4537527" y="1117119"/>
              <a:chExt cx="605155" cy="690880"/>
            </a:xfrm>
          </p:grpSpPr>
          <p:sp>
            <p:nvSpPr>
              <p:cNvPr id="663" name="Google Shape;663;p61"/>
              <p:cNvSpPr/>
              <p:nvPr/>
            </p:nvSpPr>
            <p:spPr>
              <a:xfrm>
                <a:off x="4537527" y="111711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64" name="Google Shape;664;p61"/>
              <p:cNvSpPr/>
              <p:nvPr/>
            </p:nvSpPr>
            <p:spPr>
              <a:xfrm>
                <a:off x="4625043" y="123397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grpSp>
        <p:grpSp>
          <p:nvGrpSpPr>
            <p:cNvPr id="665" name="Google Shape;665;p61"/>
            <p:cNvGrpSpPr/>
            <p:nvPr/>
          </p:nvGrpSpPr>
          <p:grpSpPr>
            <a:xfrm>
              <a:off x="9466860" y="1517169"/>
              <a:ext cx="605155" cy="690880"/>
              <a:chOff x="9466860" y="1117119"/>
              <a:chExt cx="605155" cy="690880"/>
            </a:xfrm>
          </p:grpSpPr>
          <p:sp>
            <p:nvSpPr>
              <p:cNvPr id="666" name="Google Shape;666;p61"/>
              <p:cNvSpPr/>
              <p:nvPr/>
            </p:nvSpPr>
            <p:spPr>
              <a:xfrm>
                <a:off x="9466860" y="1117119"/>
                <a:ext cx="605155" cy="690880"/>
              </a:xfrm>
              <a:custGeom>
                <a:avLst/>
                <a:gdLst/>
                <a:ahLst/>
                <a:cxnLst/>
                <a:rect l="l" t="t" r="r" b="b"/>
                <a:pathLst>
                  <a:path w="605154" h="690880" extrusionOk="0">
                    <a:moveTo>
                      <a:pt x="0" y="0"/>
                    </a:moveTo>
                    <a:lnTo>
                      <a:pt x="604800" y="0"/>
                    </a:lnTo>
                    <a:lnTo>
                      <a:pt x="604800" y="690880"/>
                    </a:lnTo>
                    <a:lnTo>
                      <a:pt x="0" y="690880"/>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67" name="Google Shape;667;p61"/>
              <p:cNvSpPr/>
              <p:nvPr/>
            </p:nvSpPr>
            <p:spPr>
              <a:xfrm>
                <a:off x="9554377" y="1233972"/>
                <a:ext cx="429895" cy="457200"/>
              </a:xfrm>
              <a:custGeom>
                <a:avLst/>
                <a:gdLst/>
                <a:ahLst/>
                <a:cxnLst/>
                <a:rect l="l" t="t" r="r" b="b"/>
                <a:pathLst>
                  <a:path w="429895" h="457200" extrusionOk="0">
                    <a:moveTo>
                      <a:pt x="125291" y="147611"/>
                    </a:moveTo>
                    <a:lnTo>
                      <a:pt x="121892" y="151619"/>
                    </a:lnTo>
                    <a:lnTo>
                      <a:pt x="118523" y="159068"/>
                    </a:lnTo>
                    <a:lnTo>
                      <a:pt x="116529" y="168577"/>
                    </a:lnTo>
                    <a:lnTo>
                      <a:pt x="117253" y="178765"/>
                    </a:lnTo>
                    <a:lnTo>
                      <a:pt x="122940" y="191520"/>
                    </a:lnTo>
                    <a:lnTo>
                      <a:pt x="130562" y="200122"/>
                    </a:lnTo>
                    <a:lnTo>
                      <a:pt x="137243" y="204983"/>
                    </a:lnTo>
                    <a:lnTo>
                      <a:pt x="140108" y="206512"/>
                    </a:lnTo>
                    <a:lnTo>
                      <a:pt x="144470" y="212605"/>
                    </a:lnTo>
                    <a:lnTo>
                      <a:pt x="154064" y="227617"/>
                    </a:lnTo>
                    <a:lnTo>
                      <a:pt x="163659" y="246647"/>
                    </a:lnTo>
                    <a:lnTo>
                      <a:pt x="168021" y="264796"/>
                    </a:lnTo>
                    <a:lnTo>
                      <a:pt x="167904" y="278768"/>
                    </a:lnTo>
                    <a:lnTo>
                      <a:pt x="141570" y="324235"/>
                    </a:lnTo>
                    <a:lnTo>
                      <a:pt x="102594" y="340746"/>
                    </a:lnTo>
                    <a:lnTo>
                      <a:pt x="57048" y="365831"/>
                    </a:lnTo>
                    <a:lnTo>
                      <a:pt x="18371" y="403350"/>
                    </a:lnTo>
                    <a:lnTo>
                      <a:pt x="0" y="457163"/>
                    </a:lnTo>
                    <a:lnTo>
                      <a:pt x="213709" y="457163"/>
                    </a:lnTo>
                    <a:lnTo>
                      <a:pt x="429768" y="457186"/>
                    </a:lnTo>
                    <a:lnTo>
                      <a:pt x="411396" y="403373"/>
                    </a:lnTo>
                    <a:lnTo>
                      <a:pt x="372719" y="365854"/>
                    </a:lnTo>
                    <a:lnTo>
                      <a:pt x="327173" y="340769"/>
                    </a:lnTo>
                    <a:lnTo>
                      <a:pt x="288197" y="324257"/>
                    </a:lnTo>
                    <a:lnTo>
                      <a:pt x="269226" y="312459"/>
                    </a:lnTo>
                    <a:lnTo>
                      <a:pt x="264899" y="300486"/>
                    </a:lnTo>
                    <a:lnTo>
                      <a:pt x="262677" y="289971"/>
                    </a:lnTo>
                    <a:lnTo>
                      <a:pt x="261859" y="278790"/>
                    </a:lnTo>
                    <a:lnTo>
                      <a:pt x="261742" y="264819"/>
                    </a:lnTo>
                    <a:lnTo>
                      <a:pt x="266104" y="246672"/>
                    </a:lnTo>
                    <a:lnTo>
                      <a:pt x="275700" y="227641"/>
                    </a:lnTo>
                    <a:lnTo>
                      <a:pt x="285297" y="212628"/>
                    </a:lnTo>
                    <a:lnTo>
                      <a:pt x="289659" y="206535"/>
                    </a:lnTo>
                    <a:lnTo>
                      <a:pt x="292524" y="205006"/>
                    </a:lnTo>
                    <a:lnTo>
                      <a:pt x="299205" y="200145"/>
                    </a:lnTo>
                    <a:lnTo>
                      <a:pt x="306827" y="191542"/>
                    </a:lnTo>
                    <a:lnTo>
                      <a:pt x="312514" y="178788"/>
                    </a:lnTo>
                    <a:lnTo>
                      <a:pt x="313238" y="168600"/>
                    </a:lnTo>
                    <a:lnTo>
                      <a:pt x="311244" y="159091"/>
                    </a:lnTo>
                    <a:lnTo>
                      <a:pt x="307875" y="151642"/>
                    </a:lnTo>
                    <a:lnTo>
                      <a:pt x="304476" y="147634"/>
                    </a:lnTo>
                    <a:lnTo>
                      <a:pt x="310873" y="120278"/>
                    </a:lnTo>
                    <a:lnTo>
                      <a:pt x="302119" y="44450"/>
                    </a:lnTo>
                    <a:lnTo>
                      <a:pt x="272395" y="13860"/>
                    </a:lnTo>
                    <a:lnTo>
                      <a:pt x="216059" y="73"/>
                    </a:lnTo>
                    <a:lnTo>
                      <a:pt x="215524" y="0"/>
                    </a:lnTo>
                    <a:lnTo>
                      <a:pt x="214993" y="9"/>
                    </a:lnTo>
                    <a:lnTo>
                      <a:pt x="214463" y="27"/>
                    </a:lnTo>
                    <a:lnTo>
                      <a:pt x="157758" y="13825"/>
                    </a:lnTo>
                    <a:lnTo>
                      <a:pt x="127811" y="44422"/>
                    </a:lnTo>
                    <a:lnTo>
                      <a:pt x="117299" y="82879"/>
                    </a:lnTo>
                    <a:lnTo>
                      <a:pt x="118900" y="120255"/>
                    </a:lnTo>
                    <a:lnTo>
                      <a:pt x="125291" y="147611"/>
                    </a:lnTo>
                    <a:close/>
                  </a:path>
                </a:pathLst>
              </a:custGeom>
              <a:noFill/>
              <a:ln w="16000" cap="flat" cmpd="sng">
                <a:solidFill>
                  <a:srgbClr val="243138"/>
                </a:solidFill>
                <a:prstDash val="solid"/>
                <a:round/>
                <a:headEnd type="none" w="sm" len="sm"/>
                <a:tailEnd type="none" w="sm" len="sm"/>
              </a:ln>
            </p:spPr>
            <p:txBody>
              <a:bodyPr spcFirstLastPara="1" wrap="square" lIns="0" tIns="0" rIns="0" bIns="0" anchor="t" anchorCtr="0">
                <a:noAutofit/>
              </a:bodyPr>
              <a:lstStyle/>
              <a:p>
                <a:endParaRPr sz="1050" dirty="0"/>
              </a:p>
            </p:txBody>
          </p:sp>
        </p:grpSp>
      </p:grpSp>
      <p:grpSp>
        <p:nvGrpSpPr>
          <p:cNvPr id="668" name="Google Shape;668;p61"/>
          <p:cNvGrpSpPr/>
          <p:nvPr/>
        </p:nvGrpSpPr>
        <p:grpSpPr>
          <a:xfrm>
            <a:off x="531539" y="1732978"/>
            <a:ext cx="8077177" cy="2572712"/>
            <a:chOff x="708718" y="2310638"/>
            <a:chExt cx="10769569" cy="3430282"/>
          </a:xfrm>
        </p:grpSpPr>
        <p:sp>
          <p:nvSpPr>
            <p:cNvPr id="669" name="Google Shape;669;p61"/>
            <p:cNvSpPr txBox="1"/>
            <p:nvPr/>
          </p:nvSpPr>
          <p:spPr>
            <a:xfrm>
              <a:off x="708718" y="2310638"/>
              <a:ext cx="3022500" cy="2157001"/>
            </a:xfrm>
            <a:prstGeom prst="rect">
              <a:avLst/>
            </a:prstGeom>
            <a:noFill/>
            <a:ln>
              <a:noFill/>
            </a:ln>
          </p:spPr>
          <p:txBody>
            <a:bodyPr spcFirstLastPara="1" wrap="square" lIns="0" tIns="9525" rIns="0" bIns="0" anchor="t" anchorCtr="0">
              <a:spAutoFit/>
            </a:bodyPr>
            <a:lstStyle/>
            <a:p>
              <a:pPr marL="9525" marR="3810" indent="631983">
                <a:lnSpc>
                  <a:spcPct val="120000"/>
                </a:lnSpc>
              </a:pPr>
              <a:r>
                <a:rPr lang="en-IN" sz="1500" dirty="0">
                  <a:solidFill>
                    <a:srgbClr val="2BA6ED"/>
                  </a:solidFill>
                  <a:latin typeface="Arial" panose="020B0604020202020204" pitchFamily="34" charset="0"/>
                  <a:ea typeface="Proxima Nova"/>
                  <a:cs typeface="Arial" panose="020B0604020202020204" pitchFamily="34" charset="0"/>
                  <a:sym typeface="Proxima Nova"/>
                </a:rPr>
                <a:t>Release Slice  </a:t>
              </a:r>
              <a:r>
                <a:rPr lang="en-IN" sz="1500" dirty="0">
                  <a:solidFill>
                    <a:srgbClr val="454646"/>
                  </a:solidFill>
                  <a:latin typeface="Arial" panose="020B0604020202020204" pitchFamily="34" charset="0"/>
                  <a:ea typeface="Proxima Nova"/>
                  <a:cs typeface="Arial" panose="020B0604020202020204" pitchFamily="34" charset="0"/>
                  <a:sym typeface="Proxima Nova"/>
                </a:rPr>
                <a:t>Identifies the smallest number  of user stories for each task.</a:t>
              </a:r>
              <a:endParaRPr sz="1500" dirty="0">
                <a:latin typeface="Arial" panose="020B0604020202020204" pitchFamily="34" charset="0"/>
                <a:ea typeface="Proxima Nova"/>
                <a:cs typeface="Arial" panose="020B0604020202020204" pitchFamily="34" charset="0"/>
                <a:sym typeface="Proxima Nova"/>
              </a:endParaRPr>
            </a:p>
            <a:p>
              <a:pPr marL="130493">
                <a:spcBef>
                  <a:spcPts val="323"/>
                </a:spcBef>
              </a:pPr>
              <a:r>
                <a:rPr lang="en-IN" sz="1500" dirty="0">
                  <a:solidFill>
                    <a:srgbClr val="454646"/>
                  </a:solidFill>
                  <a:latin typeface="Arial" panose="020B0604020202020204" pitchFamily="34" charset="0"/>
                  <a:ea typeface="Proxima Nova"/>
                  <a:cs typeface="Arial" panose="020B0604020202020204" pitchFamily="34" charset="0"/>
                  <a:sym typeface="Proxima Nova"/>
                </a:rPr>
                <a:t>Achieves your user‘s goals.</a:t>
              </a:r>
              <a:endParaRPr sz="1500" dirty="0">
                <a:latin typeface="Arial" panose="020B0604020202020204" pitchFamily="34" charset="0"/>
                <a:ea typeface="Proxima Nova"/>
                <a:cs typeface="Arial" panose="020B0604020202020204" pitchFamily="34" charset="0"/>
                <a:sym typeface="Proxima Nova"/>
              </a:endParaRPr>
            </a:p>
          </p:txBody>
        </p:sp>
        <p:sp>
          <p:nvSpPr>
            <p:cNvPr id="670" name="Google Shape;670;p61"/>
            <p:cNvSpPr/>
            <p:nvPr/>
          </p:nvSpPr>
          <p:spPr>
            <a:xfrm>
              <a:off x="2474151" y="4168700"/>
              <a:ext cx="1028573" cy="634902"/>
            </a:xfrm>
            <a:custGeom>
              <a:avLst/>
              <a:gdLst/>
              <a:ahLst/>
              <a:cxnLst/>
              <a:rect l="l" t="t" r="r" b="b"/>
              <a:pathLst>
                <a:path w="1155700" h="740410" extrusionOk="0">
                  <a:moveTo>
                    <a:pt x="1138719" y="695680"/>
                  </a:moveTo>
                  <a:lnTo>
                    <a:pt x="1079284" y="695680"/>
                  </a:lnTo>
                  <a:lnTo>
                    <a:pt x="1091970" y="696277"/>
                  </a:lnTo>
                  <a:lnTo>
                    <a:pt x="1091373" y="708963"/>
                  </a:lnTo>
                  <a:lnTo>
                    <a:pt x="1078777" y="708963"/>
                  </a:lnTo>
                  <a:lnTo>
                    <a:pt x="1077841" y="740324"/>
                  </a:lnTo>
                  <a:lnTo>
                    <a:pt x="1145540" y="708963"/>
                  </a:lnTo>
                  <a:lnTo>
                    <a:pt x="1091373" y="708963"/>
                  </a:lnTo>
                  <a:lnTo>
                    <a:pt x="1078795" y="708371"/>
                  </a:lnTo>
                  <a:lnTo>
                    <a:pt x="1146828" y="708366"/>
                  </a:lnTo>
                  <a:lnTo>
                    <a:pt x="1155143" y="704514"/>
                  </a:lnTo>
                  <a:lnTo>
                    <a:pt x="1138719" y="695680"/>
                  </a:lnTo>
                  <a:close/>
                </a:path>
                <a:path w="1155700" h="740410" extrusionOk="0">
                  <a:moveTo>
                    <a:pt x="1079284" y="695680"/>
                  </a:moveTo>
                  <a:lnTo>
                    <a:pt x="1078982" y="702087"/>
                  </a:lnTo>
                  <a:lnTo>
                    <a:pt x="1078795" y="708371"/>
                  </a:lnTo>
                  <a:lnTo>
                    <a:pt x="1091373" y="708963"/>
                  </a:lnTo>
                  <a:lnTo>
                    <a:pt x="1091970" y="696277"/>
                  </a:lnTo>
                  <a:lnTo>
                    <a:pt x="1079284" y="695680"/>
                  </a:lnTo>
                  <a:close/>
                </a:path>
                <a:path w="1155700" h="740410" extrusionOk="0">
                  <a:moveTo>
                    <a:pt x="1078982" y="702087"/>
                  </a:moveTo>
                  <a:lnTo>
                    <a:pt x="1078868" y="704514"/>
                  </a:lnTo>
                  <a:lnTo>
                    <a:pt x="1078795" y="708371"/>
                  </a:lnTo>
                  <a:lnTo>
                    <a:pt x="1078982" y="702087"/>
                  </a:lnTo>
                  <a:close/>
                </a:path>
                <a:path w="1155700" h="740410" extrusionOk="0">
                  <a:moveTo>
                    <a:pt x="1080114" y="664159"/>
                  </a:moveTo>
                  <a:lnTo>
                    <a:pt x="1078982" y="702087"/>
                  </a:lnTo>
                  <a:lnTo>
                    <a:pt x="1079284" y="695680"/>
                  </a:lnTo>
                  <a:lnTo>
                    <a:pt x="1138719" y="695680"/>
                  </a:lnTo>
                  <a:lnTo>
                    <a:pt x="1080114" y="664159"/>
                  </a:lnTo>
                  <a:close/>
                </a:path>
                <a:path w="1155700" h="740410" extrusionOk="0">
                  <a:moveTo>
                    <a:pt x="1028837" y="692618"/>
                  </a:moveTo>
                  <a:lnTo>
                    <a:pt x="1027739" y="705271"/>
                  </a:lnTo>
                  <a:lnTo>
                    <a:pt x="1040392" y="706367"/>
                  </a:lnTo>
                  <a:lnTo>
                    <a:pt x="1041488" y="693714"/>
                  </a:lnTo>
                  <a:lnTo>
                    <a:pt x="1028837" y="692618"/>
                  </a:lnTo>
                  <a:close/>
                </a:path>
                <a:path w="1155700" h="740410" extrusionOk="0">
                  <a:moveTo>
                    <a:pt x="978484" y="687777"/>
                  </a:moveTo>
                  <a:lnTo>
                    <a:pt x="976970" y="700387"/>
                  </a:lnTo>
                  <a:lnTo>
                    <a:pt x="989580" y="701899"/>
                  </a:lnTo>
                  <a:lnTo>
                    <a:pt x="991092" y="689291"/>
                  </a:lnTo>
                  <a:lnTo>
                    <a:pt x="978484" y="687777"/>
                  </a:lnTo>
                  <a:close/>
                </a:path>
                <a:path w="1155700" h="740410" extrusionOk="0">
                  <a:moveTo>
                    <a:pt x="928307" y="681360"/>
                  </a:moveTo>
                  <a:lnTo>
                    <a:pt x="926378" y="693912"/>
                  </a:lnTo>
                  <a:lnTo>
                    <a:pt x="938328" y="695749"/>
                  </a:lnTo>
                  <a:lnTo>
                    <a:pt x="939142" y="695846"/>
                  </a:lnTo>
                  <a:lnTo>
                    <a:pt x="940654" y="683238"/>
                  </a:lnTo>
                  <a:lnTo>
                    <a:pt x="939972" y="683153"/>
                  </a:lnTo>
                  <a:lnTo>
                    <a:pt x="928307" y="681360"/>
                  </a:lnTo>
                  <a:close/>
                </a:path>
                <a:path w="1155700" h="740410" extrusionOk="0">
                  <a:moveTo>
                    <a:pt x="940067" y="683167"/>
                  </a:moveTo>
                  <a:close/>
                </a:path>
                <a:path w="1155700" h="740410" extrusionOk="0">
                  <a:moveTo>
                    <a:pt x="939972" y="683153"/>
                  </a:moveTo>
                  <a:close/>
                </a:path>
                <a:path w="1155700" h="740410" extrusionOk="0">
                  <a:moveTo>
                    <a:pt x="878362" y="673348"/>
                  </a:moveTo>
                  <a:lnTo>
                    <a:pt x="876015" y="685830"/>
                  </a:lnTo>
                  <a:lnTo>
                    <a:pt x="885973" y="687701"/>
                  </a:lnTo>
                  <a:lnTo>
                    <a:pt x="888720" y="688124"/>
                  </a:lnTo>
                  <a:lnTo>
                    <a:pt x="890649" y="675571"/>
                  </a:lnTo>
                  <a:lnTo>
                    <a:pt x="888025" y="675165"/>
                  </a:lnTo>
                  <a:lnTo>
                    <a:pt x="878362" y="673348"/>
                  </a:lnTo>
                  <a:close/>
                </a:path>
                <a:path w="1155700" h="740410" extrusionOk="0">
                  <a:moveTo>
                    <a:pt x="888111" y="675181"/>
                  </a:moveTo>
                  <a:close/>
                </a:path>
                <a:path w="1155700" h="740410" extrusionOk="0">
                  <a:moveTo>
                    <a:pt x="888025" y="675165"/>
                  </a:moveTo>
                  <a:close/>
                </a:path>
                <a:path w="1155700" h="740410" extrusionOk="0">
                  <a:moveTo>
                    <a:pt x="828702" y="663723"/>
                  </a:moveTo>
                  <a:lnTo>
                    <a:pt x="825939" y="676120"/>
                  </a:lnTo>
                  <a:lnTo>
                    <a:pt x="834475" y="678022"/>
                  </a:lnTo>
                  <a:lnTo>
                    <a:pt x="838572" y="678792"/>
                  </a:lnTo>
                  <a:lnTo>
                    <a:pt x="840917" y="666310"/>
                  </a:lnTo>
                  <a:lnTo>
                    <a:pt x="836940" y="665560"/>
                  </a:lnTo>
                  <a:lnTo>
                    <a:pt x="828702" y="663723"/>
                  </a:lnTo>
                  <a:close/>
                </a:path>
                <a:path w="1155700" h="740410" extrusionOk="0">
                  <a:moveTo>
                    <a:pt x="837019" y="665577"/>
                  </a:moveTo>
                  <a:lnTo>
                    <a:pt x="837155" y="665603"/>
                  </a:lnTo>
                  <a:lnTo>
                    <a:pt x="837019" y="665577"/>
                  </a:lnTo>
                  <a:close/>
                </a:path>
                <a:path w="1155700" h="740410" extrusionOk="0">
                  <a:moveTo>
                    <a:pt x="836940" y="665560"/>
                  </a:moveTo>
                  <a:close/>
                </a:path>
                <a:path w="1155700" h="740410" extrusionOk="0">
                  <a:moveTo>
                    <a:pt x="779390" y="652465"/>
                  </a:moveTo>
                  <a:lnTo>
                    <a:pt x="776210" y="664761"/>
                  </a:lnTo>
                  <a:lnTo>
                    <a:pt x="783894" y="666748"/>
                  </a:lnTo>
                  <a:lnTo>
                    <a:pt x="788752" y="667830"/>
                  </a:lnTo>
                  <a:lnTo>
                    <a:pt x="791514" y="655435"/>
                  </a:lnTo>
                  <a:lnTo>
                    <a:pt x="786779" y="654376"/>
                  </a:lnTo>
                  <a:lnTo>
                    <a:pt x="779390" y="652465"/>
                  </a:lnTo>
                  <a:close/>
                </a:path>
                <a:path w="1155700" h="740410" extrusionOk="0">
                  <a:moveTo>
                    <a:pt x="786883" y="654403"/>
                  </a:moveTo>
                  <a:close/>
                </a:path>
                <a:path w="1155700" h="740410" extrusionOk="0">
                  <a:moveTo>
                    <a:pt x="786779" y="654376"/>
                  </a:moveTo>
                  <a:close/>
                </a:path>
                <a:path w="1155700" h="740410" extrusionOk="0">
                  <a:moveTo>
                    <a:pt x="730486" y="639552"/>
                  </a:moveTo>
                  <a:lnTo>
                    <a:pt x="726888" y="651732"/>
                  </a:lnTo>
                  <a:lnTo>
                    <a:pt x="734292" y="653919"/>
                  </a:lnTo>
                  <a:lnTo>
                    <a:pt x="739322" y="655220"/>
                  </a:lnTo>
                  <a:lnTo>
                    <a:pt x="742504" y="642926"/>
                  </a:lnTo>
                  <a:lnTo>
                    <a:pt x="737589" y="641650"/>
                  </a:lnTo>
                  <a:lnTo>
                    <a:pt x="730486" y="639552"/>
                  </a:lnTo>
                  <a:close/>
                </a:path>
                <a:path w="1155700" h="740410" extrusionOk="0">
                  <a:moveTo>
                    <a:pt x="737672" y="641675"/>
                  </a:moveTo>
                  <a:lnTo>
                    <a:pt x="737803" y="641709"/>
                  </a:lnTo>
                  <a:lnTo>
                    <a:pt x="737672" y="641675"/>
                  </a:lnTo>
                  <a:close/>
                </a:path>
                <a:path w="1155700" h="740410" extrusionOk="0">
                  <a:moveTo>
                    <a:pt x="737589" y="641650"/>
                  </a:moveTo>
                  <a:close/>
                </a:path>
                <a:path w="1155700" h="740410" extrusionOk="0">
                  <a:moveTo>
                    <a:pt x="682059" y="624961"/>
                  </a:moveTo>
                  <a:lnTo>
                    <a:pt x="678042" y="637010"/>
                  </a:lnTo>
                  <a:lnTo>
                    <a:pt x="685728" y="639573"/>
                  </a:lnTo>
                  <a:lnTo>
                    <a:pt x="690349" y="640938"/>
                  </a:lnTo>
                  <a:lnTo>
                    <a:pt x="693947" y="628757"/>
                  </a:lnTo>
                  <a:lnTo>
                    <a:pt x="689443" y="627424"/>
                  </a:lnTo>
                  <a:lnTo>
                    <a:pt x="682059" y="624961"/>
                  </a:lnTo>
                  <a:close/>
                </a:path>
                <a:path w="1155700" h="740410" extrusionOk="0">
                  <a:moveTo>
                    <a:pt x="689533" y="627454"/>
                  </a:moveTo>
                  <a:close/>
                </a:path>
                <a:path w="1155700" h="740410" extrusionOk="0">
                  <a:moveTo>
                    <a:pt x="689443" y="627424"/>
                  </a:moveTo>
                  <a:close/>
                </a:path>
                <a:path w="1155700" h="740410" extrusionOk="0">
                  <a:moveTo>
                    <a:pt x="634184" y="608670"/>
                  </a:moveTo>
                  <a:lnTo>
                    <a:pt x="629746" y="620570"/>
                  </a:lnTo>
                  <a:lnTo>
                    <a:pt x="638263" y="623746"/>
                  </a:lnTo>
                  <a:lnTo>
                    <a:pt x="641899" y="624958"/>
                  </a:lnTo>
                  <a:lnTo>
                    <a:pt x="645916" y="612910"/>
                  </a:lnTo>
                  <a:lnTo>
                    <a:pt x="642399" y="611733"/>
                  </a:lnTo>
                  <a:lnTo>
                    <a:pt x="634184" y="608670"/>
                  </a:lnTo>
                  <a:close/>
                </a:path>
                <a:path w="1155700" h="740410" extrusionOk="0">
                  <a:moveTo>
                    <a:pt x="642511" y="611775"/>
                  </a:moveTo>
                  <a:close/>
                </a:path>
                <a:path w="1155700" h="740410" extrusionOk="0">
                  <a:moveTo>
                    <a:pt x="642399" y="611733"/>
                  </a:moveTo>
                  <a:close/>
                </a:path>
                <a:path w="1155700" h="740410" extrusionOk="0">
                  <a:moveTo>
                    <a:pt x="586935" y="590651"/>
                  </a:moveTo>
                  <a:lnTo>
                    <a:pt x="582075" y="602385"/>
                  </a:lnTo>
                  <a:lnTo>
                    <a:pt x="591957" y="606477"/>
                  </a:lnTo>
                  <a:lnTo>
                    <a:pt x="594047" y="607256"/>
                  </a:lnTo>
                  <a:lnTo>
                    <a:pt x="598486" y="595358"/>
                  </a:lnTo>
                  <a:lnTo>
                    <a:pt x="596512" y="594617"/>
                  </a:lnTo>
                  <a:lnTo>
                    <a:pt x="586935" y="590651"/>
                  </a:lnTo>
                  <a:close/>
                </a:path>
                <a:path w="1155700" h="740410" extrusionOk="0">
                  <a:moveTo>
                    <a:pt x="596616" y="594660"/>
                  </a:moveTo>
                  <a:close/>
                </a:path>
                <a:path w="1155700" h="740410" extrusionOk="0">
                  <a:moveTo>
                    <a:pt x="596512" y="594617"/>
                  </a:moveTo>
                  <a:close/>
                </a:path>
                <a:path w="1155700" h="740410" extrusionOk="0">
                  <a:moveTo>
                    <a:pt x="540398" y="570877"/>
                  </a:moveTo>
                  <a:lnTo>
                    <a:pt x="535115" y="582427"/>
                  </a:lnTo>
                  <a:lnTo>
                    <a:pt x="546665" y="587710"/>
                  </a:lnTo>
                  <a:lnTo>
                    <a:pt x="551948" y="576160"/>
                  </a:lnTo>
                  <a:lnTo>
                    <a:pt x="540398" y="570877"/>
                  </a:lnTo>
                  <a:close/>
                </a:path>
                <a:path w="1155700" h="740410" extrusionOk="0">
                  <a:moveTo>
                    <a:pt x="494668" y="549321"/>
                  </a:moveTo>
                  <a:lnTo>
                    <a:pt x="488960" y="560666"/>
                  </a:lnTo>
                  <a:lnTo>
                    <a:pt x="500305" y="566375"/>
                  </a:lnTo>
                  <a:lnTo>
                    <a:pt x="506013" y="555030"/>
                  </a:lnTo>
                  <a:lnTo>
                    <a:pt x="494668" y="549321"/>
                  </a:lnTo>
                  <a:close/>
                </a:path>
                <a:path w="1155700" h="740410" extrusionOk="0">
                  <a:moveTo>
                    <a:pt x="449844" y="525955"/>
                  </a:moveTo>
                  <a:lnTo>
                    <a:pt x="443707" y="537075"/>
                  </a:lnTo>
                  <a:lnTo>
                    <a:pt x="454827" y="543210"/>
                  </a:lnTo>
                  <a:lnTo>
                    <a:pt x="460963" y="532091"/>
                  </a:lnTo>
                  <a:lnTo>
                    <a:pt x="449844" y="525955"/>
                  </a:lnTo>
                  <a:close/>
                </a:path>
                <a:path w="1155700" h="740410" extrusionOk="0">
                  <a:moveTo>
                    <a:pt x="406035" y="500748"/>
                  </a:moveTo>
                  <a:lnTo>
                    <a:pt x="399470" y="511620"/>
                  </a:lnTo>
                  <a:lnTo>
                    <a:pt x="410342" y="518185"/>
                  </a:lnTo>
                  <a:lnTo>
                    <a:pt x="416906" y="507312"/>
                  </a:lnTo>
                  <a:lnTo>
                    <a:pt x="406035" y="500748"/>
                  </a:lnTo>
                  <a:close/>
                </a:path>
                <a:path w="1155700" h="740410" extrusionOk="0">
                  <a:moveTo>
                    <a:pt x="363364" y="473673"/>
                  </a:moveTo>
                  <a:lnTo>
                    <a:pt x="356369" y="484272"/>
                  </a:lnTo>
                  <a:lnTo>
                    <a:pt x="366969" y="491267"/>
                  </a:lnTo>
                  <a:lnTo>
                    <a:pt x="373964" y="480668"/>
                  </a:lnTo>
                  <a:lnTo>
                    <a:pt x="363364" y="473673"/>
                  </a:lnTo>
                  <a:close/>
                </a:path>
                <a:path w="1155700" h="740410" extrusionOk="0">
                  <a:moveTo>
                    <a:pt x="321966" y="444703"/>
                  </a:moveTo>
                  <a:lnTo>
                    <a:pt x="314539" y="455005"/>
                  </a:lnTo>
                  <a:lnTo>
                    <a:pt x="324841" y="462431"/>
                  </a:lnTo>
                  <a:lnTo>
                    <a:pt x="332268" y="452128"/>
                  </a:lnTo>
                  <a:lnTo>
                    <a:pt x="321966" y="444703"/>
                  </a:lnTo>
                  <a:close/>
                </a:path>
                <a:path w="1155700" h="740410" extrusionOk="0">
                  <a:moveTo>
                    <a:pt x="281986" y="413814"/>
                  </a:moveTo>
                  <a:lnTo>
                    <a:pt x="274128" y="423791"/>
                  </a:lnTo>
                  <a:lnTo>
                    <a:pt x="284105" y="431650"/>
                  </a:lnTo>
                  <a:lnTo>
                    <a:pt x="291964" y="421673"/>
                  </a:lnTo>
                  <a:lnTo>
                    <a:pt x="281986" y="413814"/>
                  </a:lnTo>
                  <a:close/>
                </a:path>
                <a:path w="1155700" h="740410" extrusionOk="0">
                  <a:moveTo>
                    <a:pt x="243886" y="381088"/>
                  </a:moveTo>
                  <a:lnTo>
                    <a:pt x="235169" y="390324"/>
                  </a:lnTo>
                  <a:lnTo>
                    <a:pt x="237309" y="392343"/>
                  </a:lnTo>
                  <a:lnTo>
                    <a:pt x="244920" y="398900"/>
                  </a:lnTo>
                  <a:lnTo>
                    <a:pt x="253210" y="389279"/>
                  </a:lnTo>
                  <a:lnTo>
                    <a:pt x="245718" y="382816"/>
                  </a:lnTo>
                  <a:lnTo>
                    <a:pt x="243886" y="381088"/>
                  </a:lnTo>
                  <a:close/>
                </a:path>
                <a:path w="1155700" h="740410" extrusionOk="0">
                  <a:moveTo>
                    <a:pt x="245823" y="382915"/>
                  </a:moveTo>
                  <a:close/>
                </a:path>
                <a:path w="1155700" h="740410" extrusionOk="0">
                  <a:moveTo>
                    <a:pt x="245718" y="382816"/>
                  </a:moveTo>
                  <a:close/>
                </a:path>
                <a:path w="1155700" h="740410" extrusionOk="0">
                  <a:moveTo>
                    <a:pt x="207512" y="346069"/>
                  </a:moveTo>
                  <a:lnTo>
                    <a:pt x="198370" y="354884"/>
                  </a:lnTo>
                  <a:lnTo>
                    <a:pt x="205917" y="362712"/>
                  </a:lnTo>
                  <a:lnTo>
                    <a:pt x="207463" y="364171"/>
                  </a:lnTo>
                  <a:lnTo>
                    <a:pt x="216180" y="354935"/>
                  </a:lnTo>
                  <a:lnTo>
                    <a:pt x="214754" y="353579"/>
                  </a:lnTo>
                  <a:lnTo>
                    <a:pt x="207512" y="346069"/>
                  </a:lnTo>
                  <a:close/>
                </a:path>
                <a:path w="1155700" h="740410" extrusionOk="0">
                  <a:moveTo>
                    <a:pt x="214856" y="353685"/>
                  </a:moveTo>
                  <a:close/>
                </a:path>
                <a:path w="1155700" h="740410" extrusionOk="0">
                  <a:moveTo>
                    <a:pt x="214754" y="353579"/>
                  </a:moveTo>
                  <a:close/>
                </a:path>
                <a:path w="1155700" h="740410" extrusionOk="0">
                  <a:moveTo>
                    <a:pt x="173153" y="309093"/>
                  </a:moveTo>
                  <a:lnTo>
                    <a:pt x="163591" y="317453"/>
                  </a:lnTo>
                  <a:lnTo>
                    <a:pt x="171950" y="327013"/>
                  </a:lnTo>
                  <a:lnTo>
                    <a:pt x="181510" y="318654"/>
                  </a:lnTo>
                  <a:lnTo>
                    <a:pt x="173153" y="309093"/>
                  </a:lnTo>
                  <a:close/>
                </a:path>
                <a:path w="1155700" h="740410" extrusionOk="0">
                  <a:moveTo>
                    <a:pt x="141020" y="270182"/>
                  </a:moveTo>
                  <a:lnTo>
                    <a:pt x="131050" y="278047"/>
                  </a:lnTo>
                  <a:lnTo>
                    <a:pt x="138915" y="288019"/>
                  </a:lnTo>
                  <a:lnTo>
                    <a:pt x="148885" y="280153"/>
                  </a:lnTo>
                  <a:lnTo>
                    <a:pt x="141020" y="270182"/>
                  </a:lnTo>
                  <a:close/>
                </a:path>
                <a:path w="1155700" h="740410" extrusionOk="0">
                  <a:moveTo>
                    <a:pt x="111345" y="229377"/>
                  </a:moveTo>
                  <a:lnTo>
                    <a:pt x="100977" y="236710"/>
                  </a:lnTo>
                  <a:lnTo>
                    <a:pt x="108310" y="247079"/>
                  </a:lnTo>
                  <a:lnTo>
                    <a:pt x="118678" y="239746"/>
                  </a:lnTo>
                  <a:lnTo>
                    <a:pt x="111345" y="229377"/>
                  </a:lnTo>
                  <a:close/>
                </a:path>
                <a:path w="1155700" h="740410" extrusionOk="0">
                  <a:moveTo>
                    <a:pt x="84917" y="186833"/>
                  </a:moveTo>
                  <a:lnTo>
                    <a:pt x="73804" y="192980"/>
                  </a:lnTo>
                  <a:lnTo>
                    <a:pt x="77589" y="199824"/>
                  </a:lnTo>
                  <a:lnTo>
                    <a:pt x="80377" y="204255"/>
                  </a:lnTo>
                  <a:lnTo>
                    <a:pt x="91127" y="197495"/>
                  </a:lnTo>
                  <a:lnTo>
                    <a:pt x="88525" y="193367"/>
                  </a:lnTo>
                  <a:lnTo>
                    <a:pt x="84917" y="186833"/>
                  </a:lnTo>
                  <a:close/>
                </a:path>
                <a:path w="1155700" h="740410" extrusionOk="0">
                  <a:moveTo>
                    <a:pt x="88531" y="193367"/>
                  </a:moveTo>
                  <a:lnTo>
                    <a:pt x="88616" y="193521"/>
                  </a:lnTo>
                  <a:lnTo>
                    <a:pt x="88531" y="193367"/>
                  </a:lnTo>
                  <a:close/>
                </a:path>
                <a:path w="1155700" h="740410" extrusionOk="0">
                  <a:moveTo>
                    <a:pt x="88446" y="193213"/>
                  </a:moveTo>
                  <a:lnTo>
                    <a:pt x="88531" y="193367"/>
                  </a:lnTo>
                  <a:lnTo>
                    <a:pt x="88446" y="193213"/>
                  </a:lnTo>
                  <a:close/>
                </a:path>
                <a:path w="1155700" h="740410" extrusionOk="0">
                  <a:moveTo>
                    <a:pt x="61450" y="142215"/>
                  </a:moveTo>
                  <a:lnTo>
                    <a:pt x="49999" y="147709"/>
                  </a:lnTo>
                  <a:lnTo>
                    <a:pt x="55493" y="159160"/>
                  </a:lnTo>
                  <a:lnTo>
                    <a:pt x="66944" y="153666"/>
                  </a:lnTo>
                  <a:lnTo>
                    <a:pt x="61450" y="142215"/>
                  </a:lnTo>
                  <a:close/>
                </a:path>
                <a:path w="1155700" h="740410" extrusionOk="0">
                  <a:moveTo>
                    <a:pt x="41247" y="96042"/>
                  </a:moveTo>
                  <a:lnTo>
                    <a:pt x="29489" y="100844"/>
                  </a:lnTo>
                  <a:lnTo>
                    <a:pt x="34291" y="112602"/>
                  </a:lnTo>
                  <a:lnTo>
                    <a:pt x="46048" y="107800"/>
                  </a:lnTo>
                  <a:lnTo>
                    <a:pt x="41247" y="96042"/>
                  </a:lnTo>
                  <a:close/>
                </a:path>
                <a:path w="1155700" h="740410" extrusionOk="0">
                  <a:moveTo>
                    <a:pt x="24761" y="48845"/>
                  </a:moveTo>
                  <a:lnTo>
                    <a:pt x="12500" y="52156"/>
                  </a:lnTo>
                  <a:lnTo>
                    <a:pt x="13027" y="54107"/>
                  </a:lnTo>
                  <a:lnTo>
                    <a:pt x="16578" y="64599"/>
                  </a:lnTo>
                  <a:lnTo>
                    <a:pt x="28608" y="60526"/>
                  </a:lnTo>
                  <a:lnTo>
                    <a:pt x="25249" y="50604"/>
                  </a:lnTo>
                  <a:lnTo>
                    <a:pt x="24761" y="48845"/>
                  </a:lnTo>
                  <a:close/>
                </a:path>
                <a:path w="1155700" h="740410" extrusionOk="0">
                  <a:moveTo>
                    <a:pt x="25183" y="50408"/>
                  </a:moveTo>
                  <a:lnTo>
                    <a:pt x="25236" y="50604"/>
                  </a:lnTo>
                  <a:lnTo>
                    <a:pt x="25183" y="50408"/>
                  </a:lnTo>
                  <a:close/>
                </a:path>
                <a:path w="1155700" h="740410" extrusionOk="0">
                  <a:moveTo>
                    <a:pt x="25133" y="50223"/>
                  </a:moveTo>
                  <a:lnTo>
                    <a:pt x="25183" y="50408"/>
                  </a:lnTo>
                  <a:lnTo>
                    <a:pt x="25133" y="50223"/>
                  </a:lnTo>
                  <a:close/>
                </a:path>
                <a:path w="1155700" h="740410" extrusionOk="0">
                  <a:moveTo>
                    <a:pt x="12448" y="0"/>
                  </a:moveTo>
                  <a:lnTo>
                    <a:pt x="0" y="2519"/>
                  </a:lnTo>
                  <a:lnTo>
                    <a:pt x="2520" y="14966"/>
                  </a:lnTo>
                  <a:lnTo>
                    <a:pt x="14968" y="12447"/>
                  </a:lnTo>
                  <a:lnTo>
                    <a:pt x="12448" y="0"/>
                  </a:lnTo>
                  <a:close/>
                </a:path>
              </a:pathLst>
            </a:custGeom>
            <a:solidFill>
              <a:srgbClr val="1B2429"/>
            </a:solidFill>
            <a:ln>
              <a:noFill/>
            </a:ln>
          </p:spPr>
          <p:txBody>
            <a:bodyPr spcFirstLastPara="1" wrap="square" lIns="0" tIns="0" rIns="0" bIns="0" anchor="t" anchorCtr="0">
              <a:noAutofit/>
            </a:bodyPr>
            <a:lstStyle/>
            <a:p>
              <a:endParaRPr sz="1050" dirty="0"/>
            </a:p>
          </p:txBody>
        </p:sp>
        <p:grpSp>
          <p:nvGrpSpPr>
            <p:cNvPr id="671" name="Google Shape;671;p61"/>
            <p:cNvGrpSpPr/>
            <p:nvPr/>
          </p:nvGrpSpPr>
          <p:grpSpPr>
            <a:xfrm>
              <a:off x="3568095" y="3805440"/>
              <a:ext cx="7910192" cy="1935480"/>
              <a:chOff x="3568095" y="3805440"/>
              <a:chExt cx="7910192" cy="1935480"/>
            </a:xfrm>
          </p:grpSpPr>
          <p:grpSp>
            <p:nvGrpSpPr>
              <p:cNvPr id="672" name="Google Shape;672;p61"/>
              <p:cNvGrpSpPr/>
              <p:nvPr/>
            </p:nvGrpSpPr>
            <p:grpSpPr>
              <a:xfrm>
                <a:off x="3568095" y="3805440"/>
                <a:ext cx="7910192" cy="1935480"/>
                <a:chOff x="3568095" y="3405390"/>
                <a:chExt cx="7910192" cy="1935480"/>
              </a:xfrm>
            </p:grpSpPr>
            <p:sp>
              <p:nvSpPr>
                <p:cNvPr id="673" name="Google Shape;673;p61"/>
                <p:cNvSpPr/>
                <p:nvPr/>
              </p:nvSpPr>
              <p:spPr>
                <a:xfrm>
                  <a:off x="4425924" y="3703294"/>
                  <a:ext cx="6737984" cy="1337945"/>
                </a:xfrm>
                <a:custGeom>
                  <a:avLst/>
                  <a:gdLst/>
                  <a:ahLst/>
                  <a:cxnLst/>
                  <a:rect l="l" t="t" r="r" b="b"/>
                  <a:pathLst>
                    <a:path w="6737984" h="1337945" extrusionOk="0">
                      <a:moveTo>
                        <a:pt x="828001" y="0"/>
                      </a:moveTo>
                      <a:lnTo>
                        <a:pt x="0" y="0"/>
                      </a:lnTo>
                      <a:lnTo>
                        <a:pt x="0" y="592658"/>
                      </a:lnTo>
                      <a:lnTo>
                        <a:pt x="828001" y="592658"/>
                      </a:lnTo>
                      <a:lnTo>
                        <a:pt x="828001" y="0"/>
                      </a:lnTo>
                      <a:close/>
                    </a:path>
                    <a:path w="6737984" h="1337945" extrusionOk="0">
                      <a:moveTo>
                        <a:pt x="1812950" y="745058"/>
                      </a:moveTo>
                      <a:lnTo>
                        <a:pt x="984948" y="745058"/>
                      </a:lnTo>
                      <a:lnTo>
                        <a:pt x="984948" y="1337729"/>
                      </a:lnTo>
                      <a:lnTo>
                        <a:pt x="1812950" y="1337729"/>
                      </a:lnTo>
                      <a:lnTo>
                        <a:pt x="1812950" y="745058"/>
                      </a:lnTo>
                      <a:close/>
                    </a:path>
                    <a:path w="6737984" h="1337945" extrusionOk="0">
                      <a:moveTo>
                        <a:pt x="1812950" y="0"/>
                      </a:moveTo>
                      <a:lnTo>
                        <a:pt x="984948" y="0"/>
                      </a:lnTo>
                      <a:lnTo>
                        <a:pt x="984948" y="592658"/>
                      </a:lnTo>
                      <a:lnTo>
                        <a:pt x="1812950" y="592658"/>
                      </a:lnTo>
                      <a:lnTo>
                        <a:pt x="1812950" y="0"/>
                      </a:lnTo>
                      <a:close/>
                    </a:path>
                    <a:path w="6737984" h="1337945" extrusionOk="0">
                      <a:moveTo>
                        <a:pt x="2797911" y="0"/>
                      </a:moveTo>
                      <a:lnTo>
                        <a:pt x="1969909" y="0"/>
                      </a:lnTo>
                      <a:lnTo>
                        <a:pt x="1969909" y="592658"/>
                      </a:lnTo>
                      <a:lnTo>
                        <a:pt x="2797911" y="592658"/>
                      </a:lnTo>
                      <a:lnTo>
                        <a:pt x="2797911" y="0"/>
                      </a:lnTo>
                      <a:close/>
                    </a:path>
                    <a:path w="6737984" h="1337945" extrusionOk="0">
                      <a:moveTo>
                        <a:pt x="3782860" y="745058"/>
                      </a:moveTo>
                      <a:lnTo>
                        <a:pt x="2954871" y="745058"/>
                      </a:lnTo>
                      <a:lnTo>
                        <a:pt x="2954871" y="1337729"/>
                      </a:lnTo>
                      <a:lnTo>
                        <a:pt x="3782860" y="1337729"/>
                      </a:lnTo>
                      <a:lnTo>
                        <a:pt x="3782860" y="745058"/>
                      </a:lnTo>
                      <a:close/>
                    </a:path>
                    <a:path w="6737984" h="1337945" extrusionOk="0">
                      <a:moveTo>
                        <a:pt x="4767821" y="745058"/>
                      </a:moveTo>
                      <a:lnTo>
                        <a:pt x="3939819" y="745058"/>
                      </a:lnTo>
                      <a:lnTo>
                        <a:pt x="3939819" y="1337729"/>
                      </a:lnTo>
                      <a:lnTo>
                        <a:pt x="4767821" y="1337729"/>
                      </a:lnTo>
                      <a:lnTo>
                        <a:pt x="4767821" y="745058"/>
                      </a:lnTo>
                      <a:close/>
                    </a:path>
                    <a:path w="6737984" h="1337945" extrusionOk="0">
                      <a:moveTo>
                        <a:pt x="5757329" y="0"/>
                      </a:moveTo>
                      <a:lnTo>
                        <a:pt x="4929327" y="0"/>
                      </a:lnTo>
                      <a:lnTo>
                        <a:pt x="4929327" y="592658"/>
                      </a:lnTo>
                      <a:lnTo>
                        <a:pt x="5757329" y="592658"/>
                      </a:lnTo>
                      <a:lnTo>
                        <a:pt x="5757329" y="0"/>
                      </a:lnTo>
                      <a:close/>
                    </a:path>
                    <a:path w="6737984" h="1337945" extrusionOk="0">
                      <a:moveTo>
                        <a:pt x="6737731" y="0"/>
                      </a:moveTo>
                      <a:lnTo>
                        <a:pt x="5909729" y="0"/>
                      </a:lnTo>
                      <a:lnTo>
                        <a:pt x="5909729" y="592658"/>
                      </a:lnTo>
                      <a:lnTo>
                        <a:pt x="6737731" y="592658"/>
                      </a:lnTo>
                      <a:lnTo>
                        <a:pt x="6737731" y="0"/>
                      </a:lnTo>
                      <a:close/>
                    </a:path>
                  </a:pathLst>
                </a:custGeom>
                <a:solidFill>
                  <a:srgbClr val="FBFF69"/>
                </a:solidFill>
                <a:ln>
                  <a:noFill/>
                </a:ln>
              </p:spPr>
              <p:txBody>
                <a:bodyPr spcFirstLastPara="1" wrap="square" lIns="0" tIns="0" rIns="0" bIns="0" anchor="t" anchorCtr="0">
                  <a:noAutofit/>
                </a:bodyPr>
                <a:lstStyle/>
                <a:p>
                  <a:endParaRPr sz="1050" dirty="0"/>
                </a:p>
              </p:txBody>
            </p:sp>
            <p:sp>
              <p:nvSpPr>
                <p:cNvPr id="674" name="Google Shape;674;p61"/>
                <p:cNvSpPr/>
                <p:nvPr/>
              </p:nvSpPr>
              <p:spPr>
                <a:xfrm>
                  <a:off x="4097682" y="3507257"/>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75" name="Google Shape;675;p61"/>
                <p:cNvSpPr/>
                <p:nvPr/>
              </p:nvSpPr>
              <p:spPr>
                <a:xfrm>
                  <a:off x="4097682" y="5235052"/>
                  <a:ext cx="7380605" cy="0"/>
                </a:xfrm>
                <a:custGeom>
                  <a:avLst/>
                  <a:gdLst/>
                  <a:ahLst/>
                  <a:cxnLst/>
                  <a:rect l="l" t="t" r="r" b="b"/>
                  <a:pathLst>
                    <a:path w="7380605" h="120000" extrusionOk="0">
                      <a:moveTo>
                        <a:pt x="0" y="0"/>
                      </a:moveTo>
                      <a:lnTo>
                        <a:pt x="7380111"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76" name="Google Shape;676;p61"/>
                <p:cNvSpPr/>
                <p:nvPr/>
              </p:nvSpPr>
              <p:spPr>
                <a:xfrm>
                  <a:off x="3568095" y="3405390"/>
                  <a:ext cx="7695565" cy="1935480"/>
                </a:xfrm>
                <a:custGeom>
                  <a:avLst/>
                  <a:gdLst/>
                  <a:ahLst/>
                  <a:cxnLst/>
                  <a:rect l="l" t="t" r="r" b="b"/>
                  <a:pathLst>
                    <a:path w="7695565" h="1935479" extrusionOk="0">
                      <a:moveTo>
                        <a:pt x="0" y="0"/>
                      </a:moveTo>
                      <a:lnTo>
                        <a:pt x="7695098" y="0"/>
                      </a:lnTo>
                      <a:lnTo>
                        <a:pt x="7695098" y="1935121"/>
                      </a:lnTo>
                      <a:lnTo>
                        <a:pt x="0" y="1935121"/>
                      </a:lnTo>
                      <a:lnTo>
                        <a:pt x="0" y="0"/>
                      </a:lnTo>
                      <a:close/>
                    </a:path>
                  </a:pathLst>
                </a:custGeom>
                <a:noFill/>
                <a:ln w="12700" cap="flat" cmpd="sng">
                  <a:solidFill>
                    <a:srgbClr val="454646"/>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77" name="Google Shape;677;p61"/>
                <p:cNvSpPr/>
                <p:nvPr/>
              </p:nvSpPr>
              <p:spPr>
                <a:xfrm>
                  <a:off x="3678271" y="3904461"/>
                  <a:ext cx="571500" cy="635000"/>
                </a:xfrm>
                <a:custGeom>
                  <a:avLst/>
                  <a:gdLst/>
                  <a:ahLst/>
                  <a:cxnLst/>
                  <a:rect l="l" t="t" r="r" b="b"/>
                  <a:pathLst>
                    <a:path w="571500" h="635000" extrusionOk="0">
                      <a:moveTo>
                        <a:pt x="0" y="635000"/>
                      </a:moveTo>
                      <a:lnTo>
                        <a:pt x="571500" y="635000"/>
                      </a:lnTo>
                      <a:lnTo>
                        <a:pt x="571500" y="0"/>
                      </a:lnTo>
                      <a:lnTo>
                        <a:pt x="0" y="0"/>
                      </a:lnTo>
                      <a:lnTo>
                        <a:pt x="0" y="635000"/>
                      </a:lnTo>
                      <a:close/>
                    </a:path>
                    <a:path w="571500" h="635000" extrusionOk="0">
                      <a:moveTo>
                        <a:pt x="50800" y="50800"/>
                      </a:moveTo>
                      <a:lnTo>
                        <a:pt x="50800" y="584200"/>
                      </a:lnTo>
                      <a:lnTo>
                        <a:pt x="520700" y="584200"/>
                      </a:lnTo>
                      <a:lnTo>
                        <a:pt x="520700" y="50800"/>
                      </a:lnTo>
                      <a:lnTo>
                        <a:pt x="412750" y="50800"/>
                      </a:lnTo>
                      <a:lnTo>
                        <a:pt x="412750" y="57169"/>
                      </a:lnTo>
                      <a:lnTo>
                        <a:pt x="411253" y="64576"/>
                      </a:lnTo>
                      <a:lnTo>
                        <a:pt x="407167" y="70625"/>
                      </a:lnTo>
                      <a:lnTo>
                        <a:pt x="401099" y="74704"/>
                      </a:lnTo>
                      <a:lnTo>
                        <a:pt x="393655" y="76200"/>
                      </a:lnTo>
                      <a:lnTo>
                        <a:pt x="177838" y="76200"/>
                      </a:lnTo>
                      <a:lnTo>
                        <a:pt x="170408" y="74704"/>
                      </a:lnTo>
                      <a:lnTo>
                        <a:pt x="164341" y="70625"/>
                      </a:lnTo>
                      <a:lnTo>
                        <a:pt x="160250" y="64576"/>
                      </a:lnTo>
                      <a:lnTo>
                        <a:pt x="158750" y="57169"/>
                      </a:lnTo>
                      <a:lnTo>
                        <a:pt x="158750" y="50800"/>
                      </a:lnTo>
                      <a:lnTo>
                        <a:pt x="50800" y="50800"/>
                      </a:lnTo>
                      <a:close/>
                    </a:path>
                  </a:pathLst>
                </a:custGeom>
                <a:noFill/>
                <a:ln w="12700" cap="flat" cmpd="sng">
                  <a:solidFill>
                    <a:srgbClr val="213038"/>
                  </a:solidFill>
                  <a:prstDash val="solid"/>
                  <a:round/>
                  <a:headEnd type="none" w="sm" len="sm"/>
                  <a:tailEnd type="none" w="sm" len="sm"/>
                </a:ln>
              </p:spPr>
              <p:txBody>
                <a:bodyPr spcFirstLastPara="1" wrap="square" lIns="0" tIns="0" rIns="0" bIns="0" anchor="t" anchorCtr="0">
                  <a:noAutofit/>
                </a:bodyPr>
                <a:lstStyle/>
                <a:p>
                  <a:endParaRPr sz="1050" dirty="0"/>
                </a:p>
              </p:txBody>
            </p:sp>
            <p:pic>
              <p:nvPicPr>
                <p:cNvPr id="678" name="Google Shape;678;p61"/>
                <p:cNvPicPr preferRelativeResize="0"/>
                <p:nvPr/>
              </p:nvPicPr>
              <p:blipFill rotWithShape="1">
                <a:blip r:embed="rId3">
                  <a:alphaModFix/>
                </a:blip>
                <a:srcRect/>
                <a:stretch/>
              </p:blipFill>
              <p:spPr>
                <a:xfrm>
                  <a:off x="3894171" y="3834611"/>
                  <a:ext cx="139700" cy="76200"/>
                </a:xfrm>
                <a:prstGeom prst="rect">
                  <a:avLst/>
                </a:prstGeom>
                <a:noFill/>
                <a:ln>
                  <a:noFill/>
                </a:ln>
              </p:spPr>
            </p:pic>
            <p:sp>
              <p:nvSpPr>
                <p:cNvPr id="679" name="Google Shape;679;p61"/>
                <p:cNvSpPr/>
                <p:nvPr/>
              </p:nvSpPr>
              <p:spPr>
                <a:xfrm>
                  <a:off x="3805271" y="3872711"/>
                  <a:ext cx="318135" cy="476250"/>
                </a:xfrm>
                <a:custGeom>
                  <a:avLst/>
                  <a:gdLst/>
                  <a:ahLst/>
                  <a:cxnLst/>
                  <a:rect l="l" t="t" r="r" b="b"/>
                  <a:pathLst>
                    <a:path w="318135" h="476250" extrusionOk="0">
                      <a:moveTo>
                        <a:pt x="31750" y="31750"/>
                      </a:moveTo>
                      <a:lnTo>
                        <a:pt x="285750" y="31750"/>
                      </a:lnTo>
                      <a:lnTo>
                        <a:pt x="285750" y="88919"/>
                      </a:lnTo>
                      <a:lnTo>
                        <a:pt x="284253" y="96326"/>
                      </a:lnTo>
                      <a:lnTo>
                        <a:pt x="280167" y="102375"/>
                      </a:lnTo>
                      <a:lnTo>
                        <a:pt x="274099" y="106454"/>
                      </a:lnTo>
                      <a:lnTo>
                        <a:pt x="266655" y="107950"/>
                      </a:lnTo>
                      <a:lnTo>
                        <a:pt x="50844" y="107950"/>
                      </a:lnTo>
                      <a:lnTo>
                        <a:pt x="43411" y="106454"/>
                      </a:lnTo>
                      <a:lnTo>
                        <a:pt x="37341" y="102375"/>
                      </a:lnTo>
                      <a:lnTo>
                        <a:pt x="33250" y="96326"/>
                      </a:lnTo>
                      <a:lnTo>
                        <a:pt x="31750" y="88919"/>
                      </a:lnTo>
                      <a:lnTo>
                        <a:pt x="31750" y="31750"/>
                      </a:lnTo>
                      <a:close/>
                    </a:path>
                    <a:path w="318135" h="476250" extrusionOk="0">
                      <a:moveTo>
                        <a:pt x="190500" y="31750"/>
                      </a:moveTo>
                      <a:lnTo>
                        <a:pt x="188004" y="19392"/>
                      </a:lnTo>
                      <a:lnTo>
                        <a:pt x="181199" y="9300"/>
                      </a:lnTo>
                      <a:lnTo>
                        <a:pt x="171107" y="2495"/>
                      </a:lnTo>
                      <a:lnTo>
                        <a:pt x="158750" y="0"/>
                      </a:lnTo>
                      <a:lnTo>
                        <a:pt x="146392" y="2495"/>
                      </a:lnTo>
                      <a:lnTo>
                        <a:pt x="136300" y="9300"/>
                      </a:lnTo>
                      <a:lnTo>
                        <a:pt x="129495" y="19392"/>
                      </a:lnTo>
                      <a:lnTo>
                        <a:pt x="127000" y="31750"/>
                      </a:lnTo>
                      <a:lnTo>
                        <a:pt x="190500" y="31750"/>
                      </a:lnTo>
                      <a:close/>
                    </a:path>
                    <a:path w="318135" h="476250" extrusionOk="0">
                      <a:moveTo>
                        <a:pt x="0" y="222250"/>
                      </a:moveTo>
                      <a:lnTo>
                        <a:pt x="317988" y="222250"/>
                      </a:lnTo>
                      <a:lnTo>
                        <a:pt x="0" y="222250"/>
                      </a:lnTo>
                      <a:close/>
                    </a:path>
                    <a:path w="318135" h="476250" extrusionOk="0">
                      <a:moveTo>
                        <a:pt x="0" y="285750"/>
                      </a:moveTo>
                      <a:lnTo>
                        <a:pt x="317988" y="285750"/>
                      </a:lnTo>
                      <a:lnTo>
                        <a:pt x="0" y="285750"/>
                      </a:lnTo>
                      <a:close/>
                    </a:path>
                    <a:path w="318135" h="476250" extrusionOk="0">
                      <a:moveTo>
                        <a:pt x="0" y="349250"/>
                      </a:moveTo>
                      <a:lnTo>
                        <a:pt x="317988" y="349250"/>
                      </a:lnTo>
                      <a:lnTo>
                        <a:pt x="0" y="349250"/>
                      </a:lnTo>
                      <a:close/>
                    </a:path>
                    <a:path w="318135" h="476250" extrusionOk="0">
                      <a:moveTo>
                        <a:pt x="0" y="412750"/>
                      </a:moveTo>
                      <a:lnTo>
                        <a:pt x="317988" y="412750"/>
                      </a:lnTo>
                      <a:lnTo>
                        <a:pt x="0" y="412750"/>
                      </a:lnTo>
                      <a:close/>
                    </a:path>
                    <a:path w="318135" h="476250" extrusionOk="0">
                      <a:moveTo>
                        <a:pt x="63500" y="476250"/>
                      </a:moveTo>
                      <a:lnTo>
                        <a:pt x="254488" y="476250"/>
                      </a:lnTo>
                      <a:lnTo>
                        <a:pt x="63500" y="476250"/>
                      </a:lnTo>
                      <a:close/>
                    </a:path>
                  </a:pathLst>
                </a:custGeom>
                <a:noFill/>
                <a:ln w="12700" cap="flat" cmpd="sng">
                  <a:solidFill>
                    <a:srgbClr val="213038"/>
                  </a:solidFill>
                  <a:prstDash val="solid"/>
                  <a:round/>
                  <a:headEnd type="none" w="sm" len="sm"/>
                  <a:tailEnd type="none" w="sm" len="sm"/>
                </a:ln>
              </p:spPr>
              <p:txBody>
                <a:bodyPr spcFirstLastPara="1" wrap="square" lIns="0" tIns="0" rIns="0" bIns="0" anchor="t" anchorCtr="0">
                  <a:noAutofit/>
                </a:bodyPr>
                <a:lstStyle/>
                <a:p>
                  <a:endParaRPr sz="1050" dirty="0"/>
                </a:p>
              </p:txBody>
            </p:sp>
          </p:grpSp>
          <p:sp>
            <p:nvSpPr>
              <p:cNvPr id="680" name="Google Shape;680;p61"/>
              <p:cNvSpPr txBox="1"/>
              <p:nvPr/>
            </p:nvSpPr>
            <p:spPr>
              <a:xfrm>
                <a:off x="3744311" y="4986783"/>
                <a:ext cx="1666572" cy="584552"/>
              </a:xfrm>
              <a:prstGeom prst="rect">
                <a:avLst/>
              </a:prstGeom>
              <a:noFill/>
              <a:ln>
                <a:noFill/>
              </a:ln>
            </p:spPr>
            <p:txBody>
              <a:bodyPr spcFirstLastPara="1" wrap="square" lIns="0" tIns="9994" rIns="0" bIns="0" anchor="t" anchorCtr="0">
                <a:spAutoFit/>
              </a:bodyPr>
              <a:lstStyle/>
              <a:p>
                <a:pPr marL="9525"/>
                <a:r>
                  <a:rPr lang="en-IN" sz="900" dirty="0">
                    <a:solidFill>
                      <a:srgbClr val="1B2429"/>
                    </a:solidFill>
                    <a:latin typeface="Tahoma"/>
                    <a:ea typeface="Tahoma"/>
                    <a:cs typeface="Tahoma"/>
                    <a:sym typeface="Tahoma"/>
                  </a:rPr>
                  <a:t>Measurable Outcomes – </a:t>
                </a:r>
                <a:endParaRPr sz="1050" dirty="0"/>
              </a:p>
              <a:p>
                <a:pPr marL="9525">
                  <a:spcBef>
                    <a:spcPts val="79"/>
                  </a:spcBef>
                </a:pPr>
                <a:r>
                  <a:rPr lang="en-IN" sz="900" dirty="0">
                    <a:solidFill>
                      <a:srgbClr val="1B2429"/>
                    </a:solidFill>
                    <a:latin typeface="Tahoma"/>
                    <a:ea typeface="Tahoma"/>
                    <a:cs typeface="Tahoma"/>
                    <a:sym typeface="Tahoma"/>
                  </a:rPr>
                  <a:t>Goal, Metrics, KPI,</a:t>
                </a:r>
                <a:br>
                  <a:rPr lang="en-IN" sz="900" dirty="0">
                    <a:solidFill>
                      <a:srgbClr val="1B2429"/>
                    </a:solidFill>
                    <a:latin typeface="Tahoma"/>
                    <a:ea typeface="Tahoma"/>
                    <a:cs typeface="Tahoma"/>
                    <a:sym typeface="Tahoma"/>
                  </a:rPr>
                </a:br>
                <a:r>
                  <a:rPr lang="en-IN" sz="900" dirty="0">
                    <a:solidFill>
                      <a:srgbClr val="1B2429"/>
                    </a:solidFill>
                    <a:latin typeface="Tahoma"/>
                    <a:ea typeface="Tahoma"/>
                    <a:cs typeface="Tahoma"/>
                    <a:sym typeface="Tahoma"/>
                  </a:rPr>
                  <a:t>Secure Implementation</a:t>
                </a:r>
                <a:endParaRPr sz="900" dirty="0">
                  <a:latin typeface="Tahoma"/>
                  <a:ea typeface="Tahoma"/>
                  <a:cs typeface="Tahoma"/>
                  <a:sym typeface="Tahoma"/>
                </a:endParaRPr>
              </a:p>
            </p:txBody>
          </p:sp>
        </p:grpSp>
      </p:grpSp>
      <p:sp>
        <p:nvSpPr>
          <p:cNvPr id="681" name="Google Shape;681;p61"/>
          <p:cNvSpPr txBox="1">
            <a:spLocks noGrp="1"/>
          </p:cNvSpPr>
          <p:nvPr>
            <p:ph type="sldNum" idx="12"/>
          </p:nvPr>
        </p:nvSpPr>
        <p:spPr>
          <a:xfrm>
            <a:off x="8556784" y="4749851"/>
            <a:ext cx="548775" cy="393525"/>
          </a:xfrm>
          <a:prstGeom prst="rect">
            <a:avLst/>
          </a:prstGeom>
        </p:spPr>
        <p:txBody>
          <a:bodyPr spcFirstLastPara="1" wrap="square" lIns="91425" tIns="91425" rIns="91425" bIns="91425" anchor="t" anchorCtr="0">
            <a:noAutofit/>
          </a:bodyPr>
          <a:lstStyle/>
          <a:p>
            <a:pPr>
              <a:buSzPts val="1700"/>
            </a:pPr>
            <a:fld id="{00000000-1234-1234-1234-123412341234}" type="slidenum">
              <a:rPr lang="en-IN"/>
              <a:pPr>
                <a:buSzPts val="1700"/>
              </a:pPr>
              <a:t>29</a:t>
            </a:fld>
            <a:endParaRP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Learning objectives</a:t>
            </a:r>
          </a:p>
          <a:p>
            <a:pPr marL="457200" indent="-323850">
              <a:lnSpc>
                <a:spcPct val="150000"/>
              </a:lnSpc>
              <a:buClr>
                <a:srgbClr val="404040"/>
              </a:buClr>
              <a:buSzPts val="1500"/>
              <a:buFont typeface="Arial"/>
              <a:buChar char="●"/>
            </a:pPr>
            <a:r>
              <a:rPr lang="en-US" sz="1500" dirty="0">
                <a:solidFill>
                  <a:srgbClr val="404040"/>
                </a:solidFill>
              </a:rPr>
              <a:t>Agile vs. Waterfall</a:t>
            </a:r>
          </a:p>
          <a:p>
            <a:pPr marL="457200" indent="-323850">
              <a:lnSpc>
                <a:spcPct val="150000"/>
              </a:lnSpc>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Planning with security in mind</a:t>
            </a:r>
          </a:p>
          <a:p>
            <a:pPr marL="457200" indent="-323850">
              <a:lnSpc>
                <a:spcPct val="150000"/>
              </a:lnSpc>
              <a:buClr>
                <a:srgbClr val="404040"/>
              </a:buClr>
              <a:buSzPts val="1500"/>
              <a:buFont typeface="Arial"/>
              <a:buChar char="●"/>
            </a:pPr>
            <a:r>
              <a:rPr lang="en-US" sz="1500" dirty="0">
                <a:solidFill>
                  <a:srgbClr val="404040"/>
                </a:solidFill>
              </a:rPr>
              <a:t>Security-focused testing</a:t>
            </a:r>
            <a:endParaRPr lang="en-US"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F6C1C794-EE84-7A70-4078-51748687D2B5}"/>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print Planning with Security in Mind</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C849FF65-DA64-D0F3-7747-97677052CA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0CFF3266-1D68-765A-36E5-298470BF1B51}"/>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F1361BD-A241-5B55-725E-1644F3CB935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922B4D97-B84E-7469-4266-E0DDDB26E787}"/>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DE68FD8-196E-7606-2A79-9931405472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94955C9E-72AF-E13A-0784-D1A5C018AE7D}"/>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D4EED8DF-F1C5-FDDD-9247-B45F11F70D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A9BED1C-1876-FF96-9301-D4923D6C0430}"/>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7CCE471-D5E2-ECED-D08E-981DD56BE0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6CEFA5BE-FDC4-B24E-CB97-CFDE36E8A4F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9FED2DB-5770-6D76-614F-676088E9C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10CDB46-5406-21D5-2C0D-6EE9FFB3354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F7E27892-4ABD-982C-A0CE-670CCB958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024BB24-07BB-A0BE-4543-D35562629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89639B94-BDA1-91E5-18C0-6F7679F27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FFA1A6CB-0C0C-EE4C-E13B-7DC8FAD5A30D}"/>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2" name="Google Shape;238;p2">
            <a:extLst>
              <a:ext uri="{FF2B5EF4-FFF2-40B4-BE49-F238E27FC236}">
                <a16:creationId xmlns:a16="http://schemas.microsoft.com/office/drawing/2014/main" id="{96C805A6-A134-2ED6-DB01-A38E182236F9}"/>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dirty="0"/>
          </a:p>
        </p:txBody>
      </p:sp>
      <p:sp>
        <p:nvSpPr>
          <p:cNvPr id="8" name="Speech Bubble: Rectangle with Corners Rounded 7">
            <a:extLst>
              <a:ext uri="{FF2B5EF4-FFF2-40B4-BE49-F238E27FC236}">
                <a16:creationId xmlns:a16="http://schemas.microsoft.com/office/drawing/2014/main" id="{3988D14E-2775-2963-650B-3CAE7F33DCF6}"/>
              </a:ext>
            </a:extLst>
          </p:cNvPr>
          <p:cNvSpPr/>
          <p:nvPr/>
        </p:nvSpPr>
        <p:spPr>
          <a:xfrm>
            <a:off x="6064563" y="285136"/>
            <a:ext cx="3040921" cy="1732934"/>
          </a:xfrm>
          <a:prstGeom prst="wedgeRoundRectCallout">
            <a:avLst>
              <a:gd name="adj1" fmla="val -30306"/>
              <a:gd name="adj2" fmla="val 60390"/>
              <a:gd name="adj3" fmla="val 16667"/>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000" dirty="0">
                <a:solidFill>
                  <a:schemeClr val="tx1">
                    <a:lumMod val="50000"/>
                  </a:schemeClr>
                </a:solidFill>
              </a:rPr>
              <a:t>Threat modeling</a:t>
            </a:r>
          </a:p>
          <a:p>
            <a:pPr marL="285750" indent="-285750">
              <a:buFont typeface="Arial" panose="020B0604020202020204" pitchFamily="34" charset="0"/>
              <a:buChar char="•"/>
            </a:pPr>
            <a:r>
              <a:rPr lang="en-US" sz="1000" dirty="0">
                <a:solidFill>
                  <a:schemeClr val="tx1">
                    <a:lumMod val="50000"/>
                  </a:schemeClr>
                </a:solidFill>
              </a:rPr>
              <a:t>RBAC &amp; ABAC requirements</a:t>
            </a:r>
          </a:p>
          <a:p>
            <a:pPr marL="285750" indent="-285750">
              <a:buFont typeface="Arial" panose="020B0604020202020204" pitchFamily="34" charset="0"/>
              <a:buChar char="•"/>
            </a:pPr>
            <a:r>
              <a:rPr lang="en-US" sz="1000" dirty="0">
                <a:solidFill>
                  <a:schemeClr val="tx1">
                    <a:lumMod val="50000"/>
                  </a:schemeClr>
                </a:solidFill>
              </a:rPr>
              <a:t>Secure design principles (OWASP Top 10)</a:t>
            </a:r>
          </a:p>
          <a:p>
            <a:pPr marL="285750" indent="-285750">
              <a:buFont typeface="Arial" panose="020B0604020202020204" pitchFamily="34" charset="0"/>
              <a:buChar char="•"/>
            </a:pPr>
            <a:r>
              <a:rPr lang="en-US" sz="1000" dirty="0">
                <a:solidFill>
                  <a:schemeClr val="tx1">
                    <a:lumMod val="50000"/>
                  </a:schemeClr>
                </a:solidFill>
              </a:rPr>
              <a:t>Data classification &amp; risk assessment</a:t>
            </a:r>
          </a:p>
          <a:p>
            <a:pPr marL="285750" indent="-285750">
              <a:buFont typeface="Arial" panose="020B0604020202020204" pitchFamily="34" charset="0"/>
              <a:buChar char="•"/>
            </a:pPr>
            <a:r>
              <a:rPr lang="en-US" sz="1000" dirty="0">
                <a:solidFill>
                  <a:schemeClr val="tx1">
                    <a:lumMod val="50000"/>
                  </a:schemeClr>
                </a:solidFill>
              </a:rPr>
              <a:t>Agile design reviews with security focus included</a:t>
            </a:r>
          </a:p>
          <a:p>
            <a:pPr marL="285750" indent="-285750">
              <a:buFont typeface="Arial" panose="020B0604020202020204" pitchFamily="34" charset="0"/>
              <a:buChar char="•"/>
            </a:pPr>
            <a:r>
              <a:rPr lang="en-US" sz="1000" dirty="0">
                <a:solidFill>
                  <a:schemeClr val="tx1">
                    <a:lumMod val="50000"/>
                  </a:schemeClr>
                </a:solidFill>
              </a:rPr>
              <a:t>Epic, feature, story creation with security focus included</a:t>
            </a:r>
          </a:p>
          <a:p>
            <a:pPr marL="285750" indent="-285750">
              <a:buFont typeface="Arial" panose="020B0604020202020204" pitchFamily="34" charset="0"/>
              <a:buChar char="•"/>
            </a:pPr>
            <a:r>
              <a:rPr lang="en-US" sz="1000" dirty="0">
                <a:solidFill>
                  <a:schemeClr val="tx1">
                    <a:lumMod val="50000"/>
                  </a:schemeClr>
                </a:solidFill>
              </a:rPr>
              <a:t>Acceptance criteria with security focus included</a:t>
            </a:r>
          </a:p>
        </p:txBody>
      </p:sp>
    </p:spTree>
    <p:extLst>
      <p:ext uri="{BB962C8B-B14F-4D97-AF65-F5344CB8AC3E}">
        <p14:creationId xmlns:p14="http://schemas.microsoft.com/office/powerpoint/2010/main" val="621424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10">
          <a:extLst>
            <a:ext uri="{FF2B5EF4-FFF2-40B4-BE49-F238E27FC236}">
              <a16:creationId xmlns:a16="http://schemas.microsoft.com/office/drawing/2014/main" id="{B27EAD57-7D1B-4BAB-7357-3AD372D91DE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4512B2-6E25-B121-E015-FAB2B1DED39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a:extLst>
              <a:ext uri="{FF2B5EF4-FFF2-40B4-BE49-F238E27FC236}">
                <a16:creationId xmlns:a16="http://schemas.microsoft.com/office/drawing/2014/main" id="{10DFC888-1EFE-863B-970A-45D5392713AE}"/>
              </a:ext>
            </a:extLst>
          </p:cNvPr>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print Planning with Security in Mind</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8D007F97-D96F-7F0C-BE56-BD99AE4665C8}"/>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B2BE4D2A-1AA2-CFCC-C2E8-3A955E23D00E}"/>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0FBDF0DD-8DE0-010C-FFEF-F9764444880F}"/>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DE2A5AC1-B8E6-3D25-FA33-D1480EB32A25}"/>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447D45E-3D45-DE4E-9897-44CC3A21A146}"/>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0AB8F400-5368-9EAD-62C7-C2E2A7FE2C0B}"/>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CE788396-93A4-3E2F-7B01-0504767CB312}"/>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AFBC60D9-A5B5-3BC5-6551-F7FF3CBE526F}"/>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22E3C1C1-500C-BEF0-723B-3D3F4D16B8CC}"/>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2F249720-C8C5-0CBA-2242-2DFFB107D3AA}"/>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1FC3EB3C-4CD3-EF9B-203C-877C22CE081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DDC0F3FB-9A7A-BEBD-42B8-D1CEDA5CA7DB}"/>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E93AF9FA-4628-DAD0-9269-B8ECFDEB47EF}"/>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51A22DBF-FC93-8C11-4C4A-B60063F5E4C4}"/>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FEF8E016-5203-7311-758C-F80B762A4E39}"/>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7355E39C-F065-88E7-2F7D-92EE1FB5E3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213EF512-8A4D-29B5-1C73-CFD7F395EA24}"/>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38723B2E-836E-0287-9519-DA24668BAF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D9FA3B74-4133-B559-44A1-5AB69291AF2F}"/>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DC7BDF60-57BD-58F2-89F4-7C99C91FC0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85C0D940-EB31-D6CD-38CD-2A4865F0E133}"/>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22BCF5C0-CD46-FA24-E8DF-56988B4D53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F435E49D-7F4D-F373-2ABE-4BF4036CCC7A}"/>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AAB6BD31-CCAC-8D07-8A2D-38094BE68B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113E2FFD-5D3C-E887-A63D-771AF74E1E48}"/>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105CFADE-18D8-BCFD-CA99-8C2E7F1E28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5211D358-29D7-49D9-F808-31F72D0BC3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736AC54E-B89C-14E5-A4D9-4642509BF4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7B8C5D43-76AD-BBFF-F491-96EE37FBBA5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F771D25A-9BF7-84DC-CE2E-9F2451D23E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7D3F5593-0018-6523-6022-B854220A1443}"/>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2" name="Google Shape;238;p2">
            <a:extLst>
              <a:ext uri="{FF2B5EF4-FFF2-40B4-BE49-F238E27FC236}">
                <a16:creationId xmlns:a16="http://schemas.microsoft.com/office/drawing/2014/main" id="{2CA356B2-64E8-3AD6-7C95-CC9907C2FA98}"/>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dirty="0"/>
          </a:p>
        </p:txBody>
      </p:sp>
      <p:sp>
        <p:nvSpPr>
          <p:cNvPr id="8" name="Speech Bubble: Rectangle with Corners Rounded 7">
            <a:extLst>
              <a:ext uri="{FF2B5EF4-FFF2-40B4-BE49-F238E27FC236}">
                <a16:creationId xmlns:a16="http://schemas.microsoft.com/office/drawing/2014/main" id="{E6A0BF01-E88A-7433-6156-22AB8BDA2B36}"/>
              </a:ext>
            </a:extLst>
          </p:cNvPr>
          <p:cNvSpPr/>
          <p:nvPr/>
        </p:nvSpPr>
        <p:spPr>
          <a:xfrm>
            <a:off x="5515863" y="4454408"/>
            <a:ext cx="3244679" cy="671878"/>
          </a:xfrm>
          <a:prstGeom prst="wedgeRoundRectCallout">
            <a:avLst>
              <a:gd name="adj1" fmla="val -33216"/>
              <a:gd name="adj2" fmla="val -63298"/>
              <a:gd name="adj3" fmla="val 16667"/>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000" dirty="0">
                <a:solidFill>
                  <a:schemeClr val="tx1">
                    <a:lumMod val="50000"/>
                  </a:schemeClr>
                </a:solidFill>
              </a:rPr>
              <a:t>Secure coding best practices (OWASP Top 10)</a:t>
            </a:r>
          </a:p>
          <a:p>
            <a:pPr marL="285750" indent="-285750">
              <a:buFont typeface="Arial" panose="020B0604020202020204" pitchFamily="34" charset="0"/>
              <a:buChar char="•"/>
            </a:pPr>
            <a:r>
              <a:rPr lang="en-US" sz="1000" dirty="0">
                <a:solidFill>
                  <a:schemeClr val="tx1">
                    <a:lumMod val="50000"/>
                  </a:schemeClr>
                </a:solidFill>
              </a:rPr>
              <a:t>Static code analysis (SCA &amp; SAST)</a:t>
            </a:r>
          </a:p>
          <a:p>
            <a:pPr marL="285750" indent="-285750">
              <a:buFont typeface="Arial" panose="020B0604020202020204" pitchFamily="34" charset="0"/>
              <a:buChar char="•"/>
            </a:pPr>
            <a:r>
              <a:rPr lang="en-US" sz="1000" dirty="0">
                <a:solidFill>
                  <a:schemeClr val="tx1">
                    <a:lumMod val="50000"/>
                  </a:schemeClr>
                </a:solidFill>
              </a:rPr>
              <a:t>Security-focused unit tests</a:t>
            </a:r>
          </a:p>
        </p:txBody>
      </p:sp>
    </p:spTree>
    <p:extLst>
      <p:ext uri="{BB962C8B-B14F-4D97-AF65-F5344CB8AC3E}">
        <p14:creationId xmlns:p14="http://schemas.microsoft.com/office/powerpoint/2010/main" val="97967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0">
          <a:extLst>
            <a:ext uri="{FF2B5EF4-FFF2-40B4-BE49-F238E27FC236}">
              <a16:creationId xmlns:a16="http://schemas.microsoft.com/office/drawing/2014/main" id="{B19A45F5-1803-7421-CB0C-A7A348AB4988}"/>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BED28D-81E5-03F2-851B-8D4EC68089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a:extLst>
              <a:ext uri="{FF2B5EF4-FFF2-40B4-BE49-F238E27FC236}">
                <a16:creationId xmlns:a16="http://schemas.microsoft.com/office/drawing/2014/main" id="{E6738E0E-A846-4AC7-97D6-BD8BEDB758E4}"/>
              </a:ext>
            </a:extLst>
          </p:cNvPr>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print Planning with Security in Mind</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CE91BB44-A32C-7132-AF91-5B0223610D3E}"/>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0F8971D2-2815-9B26-DD4F-4A1EB775D264}"/>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AC3C6E65-F86A-AAB8-8F48-E7ECD3E6D55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B3660581-AFD7-3354-A3B7-D1E7B1B7943F}"/>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5F8C931-D1EA-FC96-C792-96C719E11EB7}"/>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06DC2D7C-B368-B958-17AD-5A969ED85B2F}"/>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4FB68AFF-E9AF-6388-ABE7-A99A25A243ED}"/>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AF7AB073-A3D1-C069-6F20-E97B4A34B45B}"/>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B771BF87-88BD-5DB6-4D5B-F09551EB0E42}"/>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8CF242E-50B3-F7FD-C67C-0116B2A40B0F}"/>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840437D-7414-7BA1-7822-F8F5FD368193}"/>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D352F13F-B008-75B6-1D4D-3F8A38CC4906}"/>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1918893-3BF2-7AE4-9CE2-00C004D7802C}"/>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E4F83731-7381-7C9B-9209-A4C8B94F0A58}"/>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0AB5A52C-C292-1486-13FF-3BB2C10CDF6A}"/>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9C2178C5-22D0-FD54-7B77-67DCF61E095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D27C31E1-A8D9-C800-1D2C-98BA6A301CBC}"/>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C2F0CB99-47CD-BB8C-F3E1-76F1BFD240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8165090B-0746-DAE4-441F-F99BE6C5E930}"/>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808CAE72-BAD0-66BA-698F-2B98FD3FD3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74644867-C9F4-F9E6-E284-C8AED8E2C24F}"/>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43E97C3F-31C3-D86C-B61F-0A109469EC5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E9224C5E-1DF3-D51B-E1AF-21FD276207A5}"/>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3BD4D221-2A4B-B073-02E8-6BAC6BA12A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A096B456-69EF-1EF5-FB4D-CFB3DB370375}"/>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81A31108-B0A9-6CDC-F03D-82923FC82E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BA2AB48A-3C39-6A94-A958-E7A231F9E9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CF4D088B-CCA5-2389-FE84-025E4FC3B5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DBE06385-85EA-7D04-DE82-50986464426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91B258CF-F520-7484-1F71-E7422E05C10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A4376C8F-B970-0695-0115-8552F8E9B7FC}"/>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2" name="Google Shape;238;p2">
            <a:extLst>
              <a:ext uri="{FF2B5EF4-FFF2-40B4-BE49-F238E27FC236}">
                <a16:creationId xmlns:a16="http://schemas.microsoft.com/office/drawing/2014/main" id="{9225D9BE-3388-E428-A97A-307A26EEE482}"/>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dirty="0"/>
          </a:p>
        </p:txBody>
      </p:sp>
      <p:sp>
        <p:nvSpPr>
          <p:cNvPr id="8" name="Speech Bubble: Rectangle with Corners Rounded 7">
            <a:extLst>
              <a:ext uri="{FF2B5EF4-FFF2-40B4-BE49-F238E27FC236}">
                <a16:creationId xmlns:a16="http://schemas.microsoft.com/office/drawing/2014/main" id="{0F1DC983-B152-9C4B-FD2C-0E0D5C2EE3B2}"/>
              </a:ext>
            </a:extLst>
          </p:cNvPr>
          <p:cNvSpPr/>
          <p:nvPr/>
        </p:nvSpPr>
        <p:spPr>
          <a:xfrm>
            <a:off x="3648393" y="1231696"/>
            <a:ext cx="3040921" cy="1073993"/>
          </a:xfrm>
          <a:prstGeom prst="wedgeRoundRectCallout">
            <a:avLst>
              <a:gd name="adj1" fmla="val -30306"/>
              <a:gd name="adj2" fmla="val 60390"/>
              <a:gd name="adj3" fmla="val 16667"/>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000" dirty="0">
                <a:solidFill>
                  <a:schemeClr val="tx1">
                    <a:lumMod val="50000"/>
                  </a:schemeClr>
                </a:solidFill>
              </a:rPr>
              <a:t>Continuous testing for both functionality and security</a:t>
            </a:r>
          </a:p>
          <a:p>
            <a:pPr marL="285750" indent="-285750">
              <a:buFont typeface="Arial" panose="020B0604020202020204" pitchFamily="34" charset="0"/>
              <a:buChar char="•"/>
            </a:pPr>
            <a:r>
              <a:rPr lang="en-US" sz="1000" dirty="0">
                <a:solidFill>
                  <a:schemeClr val="tx1">
                    <a:lumMod val="50000"/>
                  </a:schemeClr>
                </a:solidFill>
              </a:rPr>
              <a:t>DAST</a:t>
            </a:r>
          </a:p>
          <a:p>
            <a:pPr marL="285750" indent="-285750">
              <a:buFont typeface="Arial" panose="020B0604020202020204" pitchFamily="34" charset="0"/>
              <a:buChar char="•"/>
            </a:pPr>
            <a:r>
              <a:rPr lang="en-US" sz="1000" dirty="0">
                <a:solidFill>
                  <a:schemeClr val="tx1">
                    <a:lumMod val="50000"/>
                  </a:schemeClr>
                </a:solidFill>
              </a:rPr>
              <a:t>Integrating security tests into manual and automated test suites</a:t>
            </a:r>
          </a:p>
        </p:txBody>
      </p:sp>
    </p:spTree>
    <p:extLst>
      <p:ext uri="{BB962C8B-B14F-4D97-AF65-F5344CB8AC3E}">
        <p14:creationId xmlns:p14="http://schemas.microsoft.com/office/powerpoint/2010/main" val="3470536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0">
          <a:extLst>
            <a:ext uri="{FF2B5EF4-FFF2-40B4-BE49-F238E27FC236}">
              <a16:creationId xmlns:a16="http://schemas.microsoft.com/office/drawing/2014/main" id="{5265377E-1591-61F7-D980-56EA663B07BE}"/>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7A9A84-C92D-F23B-0653-402D2C99180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1CBED28D-81E5-03F2-851B-8D4EC68089C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a:extLst>
              <a:ext uri="{FF2B5EF4-FFF2-40B4-BE49-F238E27FC236}">
                <a16:creationId xmlns:a16="http://schemas.microsoft.com/office/drawing/2014/main" id="{F436CD2F-F79F-9D79-0999-BE1A4B80BA64}"/>
              </a:ext>
            </a:extLst>
          </p:cNvPr>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print Planning with Security in Mind</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6C8EA70A-737B-D41C-583E-2EF415191DC7}"/>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8C553C71-635A-AC44-572D-693066F3AF0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C1463E9C-66CC-0D00-83E7-6CF26523DDDC}"/>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D21DA7A2-B13D-3B46-2BFD-4EE290BB1ECB}"/>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8D7E611B-8BCF-71D4-5B28-4A2881782857}"/>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8B24591F-A419-0060-DF37-0848880C7C24}"/>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AFE7E18-D65D-239D-C80D-3EA023FD2F8A}"/>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F1837749-C8C7-4BE5-2520-AB15BD31D60D}"/>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9DD411FA-1523-85C2-7878-DA86D3B4846D}"/>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D90EF615-814E-1975-FB84-74F098A6538F}"/>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5F1B22D4-FE36-C698-CE20-425F8C99E984}"/>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ED1370A-6D6C-BF6D-9CFC-24456E8EC204}"/>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704960AD-D4BC-21AC-1E6F-E86B15CE983D}"/>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37BE7882-6A16-6065-AD91-BEE39AD6D384}"/>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0CF8D903-D3C5-0322-2C0D-BFD7AD06D52B}"/>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B34EAD40-EF59-D8F8-B2D2-74066FFDB1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66705B17-1322-BE1E-D0FA-4F0A6540BF0A}"/>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19CB82C3-CF8B-C6AA-87B2-6737BB4E51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63F7B2A2-545F-8943-F44C-DF753F8A419D}"/>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7AEFB77E-1063-9111-AEE8-3A89555909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3E5492BD-33BA-7058-503B-B538CBCDCA18}"/>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FDC0DF4D-BD48-20CC-8A7D-B5B5455405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8B5B42C7-7295-9222-0AA5-49D0121E3A5D}"/>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8C99A8CB-1EB8-73CF-D0EB-3EC8502867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995AD021-8481-31B5-A4C5-6C1575B6115C}"/>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A3A20BDA-B13B-B29B-DB82-A3B252AB16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E8A6D835-2EF4-2E96-C471-FD4DCC1AB1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4D9C45B9-FC99-D89B-6079-F9CE86E814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BE693BBC-841C-8994-1B94-50A56557DE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A7CAA5B9-94C1-25C0-3BFA-DAD468634D0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2C88E43B-E2FC-D439-DA28-9F52BB4F0B81}"/>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2" name="Google Shape;238;p2">
            <a:extLst>
              <a:ext uri="{FF2B5EF4-FFF2-40B4-BE49-F238E27FC236}">
                <a16:creationId xmlns:a16="http://schemas.microsoft.com/office/drawing/2014/main" id="{7A2F09EA-1372-35D4-634A-26530EDFCDF4}"/>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dirty="0"/>
          </a:p>
        </p:txBody>
      </p:sp>
      <p:sp>
        <p:nvSpPr>
          <p:cNvPr id="8" name="Speech Bubble: Rectangle with Corners Rounded 7">
            <a:extLst>
              <a:ext uri="{FF2B5EF4-FFF2-40B4-BE49-F238E27FC236}">
                <a16:creationId xmlns:a16="http://schemas.microsoft.com/office/drawing/2014/main" id="{FDE66D13-857A-0A51-A08A-F543B7D27ADD}"/>
              </a:ext>
            </a:extLst>
          </p:cNvPr>
          <p:cNvSpPr/>
          <p:nvPr/>
        </p:nvSpPr>
        <p:spPr>
          <a:xfrm>
            <a:off x="415548" y="1182046"/>
            <a:ext cx="3040921" cy="1073993"/>
          </a:xfrm>
          <a:prstGeom prst="wedgeRoundRectCallout">
            <a:avLst>
              <a:gd name="adj1" fmla="val 24984"/>
              <a:gd name="adj2" fmla="val 67714"/>
              <a:gd name="adj3" fmla="val 16667"/>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000" dirty="0">
                <a:solidFill>
                  <a:schemeClr val="tx1">
                    <a:lumMod val="50000"/>
                  </a:schemeClr>
                </a:solidFill>
              </a:rPr>
              <a:t>Secure deployments</a:t>
            </a:r>
          </a:p>
          <a:p>
            <a:pPr marL="285750" indent="-285750">
              <a:buFont typeface="Arial" panose="020B0604020202020204" pitchFamily="34" charset="0"/>
              <a:buChar char="•"/>
            </a:pPr>
            <a:r>
              <a:rPr lang="en-US" sz="1000" dirty="0">
                <a:solidFill>
                  <a:schemeClr val="tx1">
                    <a:lumMod val="50000"/>
                  </a:schemeClr>
                </a:solidFill>
              </a:rPr>
              <a:t>Secure configuration</a:t>
            </a:r>
          </a:p>
          <a:p>
            <a:pPr marL="285750" indent="-285750">
              <a:buFont typeface="Arial" panose="020B0604020202020204" pitchFamily="34" charset="0"/>
              <a:buChar char="•"/>
            </a:pPr>
            <a:r>
              <a:rPr lang="en-US" sz="1000" dirty="0">
                <a:solidFill>
                  <a:schemeClr val="tx1">
                    <a:lumMod val="50000"/>
                  </a:schemeClr>
                </a:solidFill>
              </a:rPr>
              <a:t>Secure rollback strategies</a:t>
            </a:r>
          </a:p>
          <a:p>
            <a:pPr marL="285750" indent="-285750">
              <a:buFont typeface="Arial" panose="020B0604020202020204" pitchFamily="34" charset="0"/>
              <a:buChar char="•"/>
            </a:pPr>
            <a:r>
              <a:rPr lang="en-US" sz="1000" dirty="0">
                <a:solidFill>
                  <a:schemeClr val="tx1">
                    <a:lumMod val="50000"/>
                  </a:schemeClr>
                </a:solidFill>
              </a:rPr>
              <a:t>Continuous monitoring for threats</a:t>
            </a:r>
          </a:p>
          <a:p>
            <a:pPr marL="285750" indent="-285750">
              <a:buFont typeface="Arial" panose="020B0604020202020204" pitchFamily="34" charset="0"/>
              <a:buChar char="•"/>
            </a:pPr>
            <a:r>
              <a:rPr lang="en-US" sz="1000" dirty="0">
                <a:solidFill>
                  <a:schemeClr val="tx1">
                    <a:lumMod val="50000"/>
                  </a:schemeClr>
                </a:solidFill>
              </a:rPr>
              <a:t>Security incident response</a:t>
            </a:r>
          </a:p>
        </p:txBody>
      </p:sp>
    </p:spTree>
    <p:extLst>
      <p:ext uri="{BB962C8B-B14F-4D97-AF65-F5344CB8AC3E}">
        <p14:creationId xmlns:p14="http://schemas.microsoft.com/office/powerpoint/2010/main" val="4225970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10">
          <a:extLst>
            <a:ext uri="{FF2B5EF4-FFF2-40B4-BE49-F238E27FC236}">
              <a16:creationId xmlns:a16="http://schemas.microsoft.com/office/drawing/2014/main" id="{15067F82-0D46-7A34-4BD6-20554EE1F477}"/>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330114-4216-2A98-76D5-90AF716CA5D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F94512B2-6E25-B121-E015-FAB2B1DED39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a:extLst>
              <a:ext uri="{FF2B5EF4-FFF2-40B4-BE49-F238E27FC236}">
                <a16:creationId xmlns:a16="http://schemas.microsoft.com/office/drawing/2014/main" id="{B1B8E557-C4EB-E7E4-ABF6-B86C5CC5470F}"/>
              </a:ext>
            </a:extLst>
          </p:cNvPr>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print Planning with Security in Mind</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7A952491-C946-C57B-8625-031AB320BDA2}"/>
              </a:ext>
            </a:extLst>
          </p:cNvPr>
          <p:cNvGrpSpPr/>
          <p:nvPr/>
        </p:nvGrpSpPr>
        <p:grpSpPr>
          <a:xfrm>
            <a:off x="2139740" y="2171925"/>
            <a:ext cx="4864519" cy="2265916"/>
            <a:chOff x="2139740" y="1757867"/>
            <a:chExt cx="4864519" cy="2265916"/>
          </a:xfrm>
        </p:grpSpPr>
        <p:grpSp>
          <p:nvGrpSpPr>
            <p:cNvPr id="5" name="Google Shape;747;p39">
              <a:extLst>
                <a:ext uri="{FF2B5EF4-FFF2-40B4-BE49-F238E27FC236}">
                  <a16:creationId xmlns:a16="http://schemas.microsoft.com/office/drawing/2014/main" id="{FB41BA08-6A32-1E6E-AD10-3F6645170A9A}"/>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147FCC79-7BFB-BD33-DC73-0A6EA3C639EA}"/>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4F17FCB9-8198-325D-6289-57DDA3B3F77B}"/>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9D84EBAE-12D2-D012-9ACC-D32D980415F6}"/>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0F59FCA2-08B0-B941-85A0-CC233EAB2356}"/>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3B0C8627-C939-7DD5-74A4-53C577AD63B8}"/>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2F2C3132-F1B8-3304-2DF7-F405739D289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3338D95C-1FDE-C5A8-F913-F1D8BB9F833A}"/>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C9F93580-EB60-9FEE-B91A-8DA254987072}"/>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6F457BCE-37CF-D58C-B5EA-CBB25393492E}"/>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F75D9C69-7A8C-C5EE-670A-969097D51952}"/>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19C80B66-B056-E75F-FF4F-5021036EE2B8}"/>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AE3EA58C-64E4-82C1-6F7C-4D85F94FF02F}"/>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A8A76147-239D-ED91-A08E-EC1D0F10151D}"/>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pic>
        <p:nvPicPr>
          <p:cNvPr id="3" name="Graphic 2" descr="Lock outline">
            <a:extLst>
              <a:ext uri="{FF2B5EF4-FFF2-40B4-BE49-F238E27FC236}">
                <a16:creationId xmlns:a16="http://schemas.microsoft.com/office/drawing/2014/main" id="{6BC23C9A-4492-9025-A27E-0CB22C45F9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0042" y="1368753"/>
            <a:ext cx="397764" cy="397764"/>
          </a:xfrm>
          <a:prstGeom prst="rect">
            <a:avLst/>
          </a:prstGeom>
        </p:spPr>
      </p:pic>
      <p:sp>
        <p:nvSpPr>
          <p:cNvPr id="7" name="Arrow: Up 6">
            <a:extLst>
              <a:ext uri="{FF2B5EF4-FFF2-40B4-BE49-F238E27FC236}">
                <a16:creationId xmlns:a16="http://schemas.microsoft.com/office/drawing/2014/main" id="{976DA864-44F6-7DCF-A31F-A83E6671E259}"/>
              </a:ext>
            </a:extLst>
          </p:cNvPr>
          <p:cNvSpPr/>
          <p:nvPr/>
        </p:nvSpPr>
        <p:spPr>
          <a:xfrm rot="10800000">
            <a:off x="3533029" y="1772209"/>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6" name="Graphic 5" descr="Lock outline">
            <a:extLst>
              <a:ext uri="{FF2B5EF4-FFF2-40B4-BE49-F238E27FC236}">
                <a16:creationId xmlns:a16="http://schemas.microsoft.com/office/drawing/2014/main" id="{B4303F57-EE13-B4AF-AC88-B7A3A5F53E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66799" y="1319812"/>
            <a:ext cx="397764" cy="397764"/>
          </a:xfrm>
          <a:prstGeom prst="rect">
            <a:avLst/>
          </a:prstGeom>
        </p:spPr>
      </p:pic>
      <p:sp>
        <p:nvSpPr>
          <p:cNvPr id="11" name="Arrow: Up 10">
            <a:extLst>
              <a:ext uri="{FF2B5EF4-FFF2-40B4-BE49-F238E27FC236}">
                <a16:creationId xmlns:a16="http://schemas.microsoft.com/office/drawing/2014/main" id="{60C2C815-5A46-84C0-9EE8-1FFAFEB45D50}"/>
              </a:ext>
            </a:extLst>
          </p:cNvPr>
          <p:cNvSpPr/>
          <p:nvPr/>
        </p:nvSpPr>
        <p:spPr>
          <a:xfrm rot="10800000">
            <a:off x="5795915" y="1724108"/>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3" name="Graphic 12" descr="Lock outline">
            <a:extLst>
              <a:ext uri="{FF2B5EF4-FFF2-40B4-BE49-F238E27FC236}">
                <a16:creationId xmlns:a16="http://schemas.microsoft.com/office/drawing/2014/main" id="{E6D90654-C1E7-81BC-A304-53BCE669E78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4559" y="3291789"/>
            <a:ext cx="397764" cy="397764"/>
          </a:xfrm>
          <a:prstGeom prst="rect">
            <a:avLst/>
          </a:prstGeom>
        </p:spPr>
      </p:pic>
      <p:sp>
        <p:nvSpPr>
          <p:cNvPr id="15" name="Arrow: Up 14">
            <a:extLst>
              <a:ext uri="{FF2B5EF4-FFF2-40B4-BE49-F238E27FC236}">
                <a16:creationId xmlns:a16="http://schemas.microsoft.com/office/drawing/2014/main" id="{7DA597B9-8F6C-6D54-97FA-470A2C8E217C}"/>
              </a:ext>
            </a:extLst>
          </p:cNvPr>
          <p:cNvSpPr/>
          <p:nvPr/>
        </p:nvSpPr>
        <p:spPr>
          <a:xfrm rot="16200000">
            <a:off x="7165789" y="3347822"/>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17" name="Graphic 16" descr="Lock outline">
            <a:extLst>
              <a:ext uri="{FF2B5EF4-FFF2-40B4-BE49-F238E27FC236}">
                <a16:creationId xmlns:a16="http://schemas.microsoft.com/office/drawing/2014/main" id="{A07CC935-AFB0-D009-8611-0596DC2458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088" y="4300550"/>
            <a:ext cx="397764" cy="397764"/>
          </a:xfrm>
          <a:prstGeom prst="rect">
            <a:avLst/>
          </a:prstGeom>
        </p:spPr>
      </p:pic>
      <p:sp>
        <p:nvSpPr>
          <p:cNvPr id="19" name="Arrow: Up 18">
            <a:extLst>
              <a:ext uri="{FF2B5EF4-FFF2-40B4-BE49-F238E27FC236}">
                <a16:creationId xmlns:a16="http://schemas.microsoft.com/office/drawing/2014/main" id="{6D8B6C8F-2F07-6AA4-B762-3A5048058251}"/>
              </a:ext>
            </a:extLst>
          </p:cNvPr>
          <p:cNvSpPr/>
          <p:nvPr/>
        </p:nvSpPr>
        <p:spPr>
          <a:xfrm>
            <a:off x="4692171" y="3918305"/>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21" name="Graphic 20" descr="Lock outline">
            <a:extLst>
              <a:ext uri="{FF2B5EF4-FFF2-40B4-BE49-F238E27FC236}">
                <a16:creationId xmlns:a16="http://schemas.microsoft.com/office/drawing/2014/main" id="{D519FAE3-4CAC-EB1D-3E6F-F9DED5743D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8859" y="2973330"/>
            <a:ext cx="397764" cy="397764"/>
          </a:xfrm>
          <a:prstGeom prst="rect">
            <a:avLst/>
          </a:prstGeom>
        </p:spPr>
      </p:pic>
      <p:sp>
        <p:nvSpPr>
          <p:cNvPr id="23" name="Arrow: Up 22">
            <a:extLst>
              <a:ext uri="{FF2B5EF4-FFF2-40B4-BE49-F238E27FC236}">
                <a16:creationId xmlns:a16="http://schemas.microsoft.com/office/drawing/2014/main" id="{BD3F31BE-FD24-7915-DFDA-588F17F5F0E3}"/>
              </a:ext>
            </a:extLst>
          </p:cNvPr>
          <p:cNvSpPr/>
          <p:nvPr/>
        </p:nvSpPr>
        <p:spPr>
          <a:xfrm rot="5400000">
            <a:off x="1788145" y="3047223"/>
            <a:ext cx="146232" cy="342900"/>
          </a:xfrm>
          <a:prstGeom prst="upArrow">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pic>
        <p:nvPicPr>
          <p:cNvPr id="9" name="Graphic 8" descr="Fence with solid fill">
            <a:extLst>
              <a:ext uri="{FF2B5EF4-FFF2-40B4-BE49-F238E27FC236}">
                <a16:creationId xmlns:a16="http://schemas.microsoft.com/office/drawing/2014/main" id="{B3CBFB08-382C-CAB6-8105-BA5AF1A9F9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81678" y="2465107"/>
            <a:ext cx="397765" cy="397765"/>
          </a:xfrm>
          <a:prstGeom prst="rect">
            <a:avLst/>
          </a:prstGeom>
        </p:spPr>
      </p:pic>
      <p:pic>
        <p:nvPicPr>
          <p:cNvPr id="18" name="Graphic 17" descr="Fence with solid fill">
            <a:extLst>
              <a:ext uri="{FF2B5EF4-FFF2-40B4-BE49-F238E27FC236}">
                <a16:creationId xmlns:a16="http://schemas.microsoft.com/office/drawing/2014/main" id="{AD23D733-E601-AC28-67EF-9ADC30624C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4403" y="3875889"/>
            <a:ext cx="397765" cy="397765"/>
          </a:xfrm>
          <a:prstGeom prst="rect">
            <a:avLst/>
          </a:prstGeom>
        </p:spPr>
      </p:pic>
      <p:pic>
        <p:nvPicPr>
          <p:cNvPr id="25" name="Graphic 24" descr="Fence with solid fill">
            <a:extLst>
              <a:ext uri="{FF2B5EF4-FFF2-40B4-BE49-F238E27FC236}">
                <a16:creationId xmlns:a16="http://schemas.microsoft.com/office/drawing/2014/main" id="{281E6133-679D-C063-AA59-45EB825827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20418" y="2429144"/>
            <a:ext cx="397765" cy="397765"/>
          </a:xfrm>
          <a:prstGeom prst="rect">
            <a:avLst/>
          </a:prstGeom>
        </p:spPr>
      </p:pic>
      <p:pic>
        <p:nvPicPr>
          <p:cNvPr id="27" name="Graphic 26" descr="Fence with solid fill">
            <a:extLst>
              <a:ext uri="{FF2B5EF4-FFF2-40B4-BE49-F238E27FC236}">
                <a16:creationId xmlns:a16="http://schemas.microsoft.com/office/drawing/2014/main" id="{B472367B-C3EF-DB91-34CD-A9EBA56BC3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62167" y="2423352"/>
            <a:ext cx="397765" cy="397765"/>
          </a:xfrm>
          <a:prstGeom prst="rect">
            <a:avLst/>
          </a:prstGeom>
        </p:spPr>
      </p:pic>
      <p:pic>
        <p:nvPicPr>
          <p:cNvPr id="29" name="Graphic 28" descr="Fence with solid fill">
            <a:extLst>
              <a:ext uri="{FF2B5EF4-FFF2-40B4-BE49-F238E27FC236}">
                <a16:creationId xmlns:a16="http://schemas.microsoft.com/office/drawing/2014/main" id="{3CF42E75-9ED9-345C-2DBE-E4E7AAAD97A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726" y="4618174"/>
            <a:ext cx="397765" cy="397765"/>
          </a:xfrm>
          <a:prstGeom prst="rect">
            <a:avLst/>
          </a:prstGeom>
        </p:spPr>
      </p:pic>
      <p:sp>
        <p:nvSpPr>
          <p:cNvPr id="31" name="TextBox 30">
            <a:extLst>
              <a:ext uri="{FF2B5EF4-FFF2-40B4-BE49-F238E27FC236}">
                <a16:creationId xmlns:a16="http://schemas.microsoft.com/office/drawing/2014/main" id="{87FC0799-1C91-0314-6C45-F6BDA996E955}"/>
              </a:ext>
            </a:extLst>
          </p:cNvPr>
          <p:cNvSpPr txBox="1"/>
          <p:nvPr/>
        </p:nvSpPr>
        <p:spPr>
          <a:xfrm>
            <a:off x="493527" y="4578825"/>
            <a:ext cx="2121758" cy="4841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dirty="0">
                <a:solidFill>
                  <a:srgbClr val="575757"/>
                </a:solidFill>
              </a:rPr>
              <a:t>Quality gates guard against moving security defects forward</a:t>
            </a:r>
          </a:p>
        </p:txBody>
      </p:sp>
      <p:sp>
        <p:nvSpPr>
          <p:cNvPr id="2" name="Google Shape;238;p2">
            <a:extLst>
              <a:ext uri="{FF2B5EF4-FFF2-40B4-BE49-F238E27FC236}">
                <a16:creationId xmlns:a16="http://schemas.microsoft.com/office/drawing/2014/main" id="{C8B1190A-FF43-8757-F483-AC23C0F9C3B2}"/>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dirty="0"/>
          </a:p>
        </p:txBody>
      </p:sp>
      <p:sp>
        <p:nvSpPr>
          <p:cNvPr id="8" name="Speech Bubble: Rectangle with Corners Rounded 7">
            <a:extLst>
              <a:ext uri="{FF2B5EF4-FFF2-40B4-BE49-F238E27FC236}">
                <a16:creationId xmlns:a16="http://schemas.microsoft.com/office/drawing/2014/main" id="{E66AADD3-C684-F17E-D694-5FD631153CE6}"/>
              </a:ext>
            </a:extLst>
          </p:cNvPr>
          <p:cNvSpPr/>
          <p:nvPr/>
        </p:nvSpPr>
        <p:spPr>
          <a:xfrm>
            <a:off x="3237311" y="4216810"/>
            <a:ext cx="3244679" cy="671878"/>
          </a:xfrm>
          <a:prstGeom prst="wedgeRoundRectCallout">
            <a:avLst>
              <a:gd name="adj1" fmla="val -33216"/>
              <a:gd name="adj2" fmla="val -63298"/>
              <a:gd name="adj3" fmla="val 16667"/>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000" dirty="0">
                <a:solidFill>
                  <a:schemeClr val="tx1">
                    <a:lumMod val="50000"/>
                  </a:schemeClr>
                </a:solidFill>
              </a:rPr>
              <a:t>Security problem management</a:t>
            </a:r>
          </a:p>
          <a:p>
            <a:pPr marL="285750" indent="-285750">
              <a:buFont typeface="Arial" panose="020B0604020202020204" pitchFamily="34" charset="0"/>
              <a:buChar char="•"/>
            </a:pPr>
            <a:r>
              <a:rPr lang="en-US" sz="1000" dirty="0">
                <a:solidFill>
                  <a:schemeClr val="tx1">
                    <a:lumMod val="50000"/>
                  </a:schemeClr>
                </a:solidFill>
              </a:rPr>
              <a:t>Hardening of processes, systems, infrastructure</a:t>
            </a:r>
          </a:p>
          <a:p>
            <a:pPr marL="285750" indent="-285750">
              <a:buFont typeface="Arial" panose="020B0604020202020204" pitchFamily="34" charset="0"/>
              <a:buChar char="•"/>
            </a:pPr>
            <a:r>
              <a:rPr lang="en-US" sz="1000" dirty="0">
                <a:solidFill>
                  <a:schemeClr val="tx1">
                    <a:lumMod val="50000"/>
                  </a:schemeClr>
                </a:solidFill>
              </a:rPr>
              <a:t>Updates/enhancements to threat model</a:t>
            </a:r>
          </a:p>
        </p:txBody>
      </p:sp>
    </p:spTree>
    <p:extLst>
      <p:ext uri="{BB962C8B-B14F-4D97-AF65-F5344CB8AC3E}">
        <p14:creationId xmlns:p14="http://schemas.microsoft.com/office/powerpoint/2010/main" val="2617206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Shape 685"/>
        <p:cNvGrpSpPr/>
        <p:nvPr/>
      </p:nvGrpSpPr>
      <p:grpSpPr>
        <a:xfrm>
          <a:off x="0" y="0"/>
          <a:ext cx="0" cy="0"/>
          <a:chOff x="0" y="0"/>
          <a:chExt cx="0" cy="0"/>
        </a:xfrm>
      </p:grpSpPr>
      <p:sp>
        <p:nvSpPr>
          <p:cNvPr id="686" name="Google Shape;686;p62"/>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3200"/>
            </a:pPr>
            <a:r>
              <a:rPr lang="en-IN" dirty="0">
                <a:latin typeface="Arial" panose="020B0604020202020204" pitchFamily="34" charset="0"/>
                <a:ea typeface="Helvetica Neue"/>
                <a:cs typeface="Arial" panose="020B0604020202020204" pitchFamily="34" charset="0"/>
                <a:sym typeface="Helvetica Neue"/>
              </a:rPr>
              <a:t>User Story Map – An Example</a:t>
            </a:r>
            <a:endParaRPr dirty="0">
              <a:latin typeface="Arial" panose="020B0604020202020204" pitchFamily="34" charset="0"/>
              <a:ea typeface="Helvetica Neue"/>
              <a:cs typeface="Arial" panose="020B0604020202020204" pitchFamily="34" charset="0"/>
              <a:sym typeface="Helvetica Neue"/>
            </a:endParaRPr>
          </a:p>
        </p:txBody>
      </p:sp>
      <p:grpSp>
        <p:nvGrpSpPr>
          <p:cNvPr id="687" name="Google Shape;687;p62"/>
          <p:cNvGrpSpPr/>
          <p:nvPr/>
        </p:nvGrpSpPr>
        <p:grpSpPr>
          <a:xfrm>
            <a:off x="559725" y="1044388"/>
            <a:ext cx="8584550" cy="3873599"/>
            <a:chOff x="-921051" y="648625"/>
            <a:chExt cx="13113418" cy="5917157"/>
          </a:xfrm>
        </p:grpSpPr>
        <p:sp>
          <p:nvSpPr>
            <p:cNvPr id="688" name="Google Shape;688;p62"/>
            <p:cNvSpPr txBox="1"/>
            <p:nvPr/>
          </p:nvSpPr>
          <p:spPr>
            <a:xfrm>
              <a:off x="4705968" y="2547613"/>
              <a:ext cx="2208162" cy="1276744"/>
            </a:xfrm>
            <a:prstGeom prst="rect">
              <a:avLst/>
            </a:prstGeom>
            <a:solidFill>
              <a:srgbClr val="5CD574"/>
            </a:solidFill>
            <a:ln>
              <a:noFill/>
            </a:ln>
          </p:spPr>
          <p:txBody>
            <a:bodyPr spcFirstLastPara="1" wrap="square" lIns="0" tIns="4763" rIns="0" bIns="0" anchor="t" anchorCtr="0">
              <a:spAutoFit/>
            </a:bodyPr>
            <a:lstStyle/>
            <a:p>
              <a:endParaRPr sz="1350" dirty="0">
                <a:latin typeface="Helvetica Neue Light"/>
                <a:ea typeface="Helvetica Neue Light"/>
                <a:cs typeface="Helvetica Neue Light"/>
                <a:sym typeface="Helvetica Neue Light"/>
              </a:endParaRPr>
            </a:p>
            <a:p>
              <a:pPr marL="486251"/>
              <a:r>
                <a:rPr lang="en-IN" sz="1350" i="1" dirty="0">
                  <a:solidFill>
                    <a:srgbClr val="FFFFFF"/>
                  </a:solidFill>
                  <a:latin typeface="Helvetica Neue Light"/>
                  <a:ea typeface="Helvetica Neue Light"/>
                  <a:cs typeface="Helvetica Neue Light"/>
                  <a:sym typeface="Helvetica Neue Light"/>
                </a:rPr>
                <a:t>Search</a:t>
              </a:r>
              <a:endParaRPr sz="1350" i="1" dirty="0">
                <a:solidFill>
                  <a:srgbClr val="FFFFFF"/>
                </a:solidFill>
                <a:latin typeface="Helvetica Neue Light"/>
                <a:ea typeface="Helvetica Neue Light"/>
                <a:cs typeface="Helvetica Neue Light"/>
                <a:sym typeface="Helvetica Neue Light"/>
              </a:endParaRPr>
            </a:p>
            <a:p>
              <a:pPr marL="486251"/>
              <a:endParaRPr sz="1350" i="1" dirty="0">
                <a:solidFill>
                  <a:srgbClr val="FFFFFF"/>
                </a:solidFill>
                <a:latin typeface="Helvetica Neue Light"/>
                <a:ea typeface="Helvetica Neue Light"/>
                <a:cs typeface="Helvetica Neue Light"/>
                <a:sym typeface="Helvetica Neue Light"/>
              </a:endParaRPr>
            </a:p>
            <a:p>
              <a:pPr marL="486251"/>
              <a:endParaRPr sz="1350" dirty="0">
                <a:latin typeface="Helvetica Neue Light"/>
                <a:ea typeface="Helvetica Neue Light"/>
                <a:cs typeface="Helvetica Neue Light"/>
                <a:sym typeface="Helvetica Neue Light"/>
              </a:endParaRPr>
            </a:p>
          </p:txBody>
        </p:sp>
        <p:sp>
          <p:nvSpPr>
            <p:cNvPr id="689" name="Google Shape;689;p62"/>
            <p:cNvSpPr txBox="1"/>
            <p:nvPr/>
          </p:nvSpPr>
          <p:spPr>
            <a:xfrm>
              <a:off x="7521920" y="2556461"/>
              <a:ext cx="2208162" cy="1276744"/>
            </a:xfrm>
            <a:prstGeom prst="rect">
              <a:avLst/>
            </a:prstGeom>
            <a:solidFill>
              <a:srgbClr val="5CD574"/>
            </a:solidFill>
            <a:ln>
              <a:noFill/>
            </a:ln>
          </p:spPr>
          <p:txBody>
            <a:bodyPr spcFirstLastPara="1" wrap="square" lIns="0" tIns="4763" rIns="0" bIns="0" anchor="t" anchorCtr="0">
              <a:spAutoFit/>
            </a:bodyPr>
            <a:lstStyle/>
            <a:p>
              <a:endParaRPr sz="1350" dirty="0">
                <a:latin typeface="Helvetica Neue Light"/>
                <a:ea typeface="Helvetica Neue Light"/>
                <a:cs typeface="Helvetica Neue Light"/>
                <a:sym typeface="Helvetica Neue Light"/>
              </a:endParaRPr>
            </a:p>
            <a:p>
              <a:pPr marL="141446" marR="134779" indent="426244"/>
              <a:r>
                <a:rPr lang="en-IN" sz="1350" i="1" dirty="0">
                  <a:solidFill>
                    <a:srgbClr val="FFFFFF"/>
                  </a:solidFill>
                  <a:latin typeface="Helvetica Neue Light"/>
                  <a:ea typeface="Helvetica Neue Light"/>
                  <a:cs typeface="Helvetica Neue Light"/>
                  <a:sym typeface="Helvetica Neue Light"/>
                </a:rPr>
                <a:t>View  Product Listing</a:t>
              </a:r>
              <a:endParaRPr sz="1350" i="1" dirty="0">
                <a:solidFill>
                  <a:srgbClr val="FFFFFF"/>
                </a:solidFill>
                <a:latin typeface="Helvetica Neue Light"/>
                <a:ea typeface="Helvetica Neue Light"/>
                <a:cs typeface="Helvetica Neue Light"/>
                <a:sym typeface="Helvetica Neue Light"/>
              </a:endParaRPr>
            </a:p>
            <a:p>
              <a:pPr marL="141446" marR="134779" indent="426244"/>
              <a:endParaRPr sz="1350" dirty="0">
                <a:latin typeface="Helvetica Neue Light"/>
                <a:ea typeface="Helvetica Neue Light"/>
                <a:cs typeface="Helvetica Neue Light"/>
                <a:sym typeface="Helvetica Neue Light"/>
              </a:endParaRPr>
            </a:p>
          </p:txBody>
        </p:sp>
        <p:sp>
          <p:nvSpPr>
            <p:cNvPr id="690" name="Google Shape;690;p62"/>
            <p:cNvSpPr txBox="1"/>
            <p:nvPr/>
          </p:nvSpPr>
          <p:spPr>
            <a:xfrm>
              <a:off x="9984312" y="2556461"/>
              <a:ext cx="1855540" cy="1276744"/>
            </a:xfrm>
            <a:prstGeom prst="rect">
              <a:avLst/>
            </a:prstGeom>
            <a:solidFill>
              <a:srgbClr val="5CD574"/>
            </a:solidFill>
            <a:ln>
              <a:noFill/>
            </a:ln>
          </p:spPr>
          <p:txBody>
            <a:bodyPr spcFirstLastPara="1" wrap="square" lIns="0" tIns="4763" rIns="0" bIns="0" anchor="t" anchorCtr="0">
              <a:spAutoFit/>
            </a:bodyPr>
            <a:lstStyle/>
            <a:p>
              <a:pPr marL="207169" marR="200978" indent="-9525" algn="ctr"/>
              <a:r>
                <a:rPr lang="en-IN" sz="1350" i="1" dirty="0">
                  <a:solidFill>
                    <a:srgbClr val="FFFFFF"/>
                  </a:solidFill>
                  <a:latin typeface="Helvetica Neue Light"/>
                  <a:ea typeface="Helvetica Neue Light"/>
                  <a:cs typeface="Helvetica Neue Light"/>
                  <a:sym typeface="Helvetica Neue Light"/>
                </a:rPr>
                <a:t>View Product Page</a:t>
              </a:r>
              <a:endParaRPr sz="1350" i="1" dirty="0">
                <a:solidFill>
                  <a:srgbClr val="FFFFFF"/>
                </a:solidFill>
                <a:latin typeface="Helvetica Neue Light"/>
                <a:ea typeface="Helvetica Neue Light"/>
                <a:cs typeface="Helvetica Neue Light"/>
                <a:sym typeface="Helvetica Neue Light"/>
              </a:endParaRPr>
            </a:p>
            <a:p>
              <a:pPr marL="207169" marR="200978" indent="-9525" algn="ctr"/>
              <a:endParaRPr sz="1350" dirty="0">
                <a:latin typeface="Helvetica Neue Light"/>
                <a:ea typeface="Helvetica Neue Light"/>
                <a:cs typeface="Helvetica Neue Light"/>
                <a:sym typeface="Helvetica Neue Light"/>
              </a:endParaRPr>
            </a:p>
          </p:txBody>
        </p:sp>
        <p:sp>
          <p:nvSpPr>
            <p:cNvPr id="691" name="Google Shape;691;p62"/>
            <p:cNvSpPr txBox="1"/>
            <p:nvPr/>
          </p:nvSpPr>
          <p:spPr>
            <a:xfrm>
              <a:off x="4705963" y="648625"/>
              <a:ext cx="2292601" cy="1594093"/>
            </a:xfrm>
            <a:prstGeom prst="rect">
              <a:avLst/>
            </a:prstGeom>
            <a:solidFill>
              <a:srgbClr val="3366FF"/>
            </a:solidFill>
            <a:ln>
              <a:noFill/>
            </a:ln>
          </p:spPr>
          <p:txBody>
            <a:bodyPr spcFirstLastPara="1" wrap="square" lIns="0" tIns="4763" rIns="0" bIns="0" anchor="t" anchorCtr="0">
              <a:spAutoFit/>
            </a:bodyPr>
            <a:lstStyle/>
            <a:p>
              <a:endParaRPr sz="1350" dirty="0">
                <a:latin typeface="Helvetica Neue Light"/>
                <a:ea typeface="Helvetica Neue Light"/>
                <a:cs typeface="Helvetica Neue Light"/>
                <a:sym typeface="Helvetica Neue Light"/>
              </a:endParaRPr>
            </a:p>
            <a:p>
              <a:pPr marL="439579" marR="433864" indent="150494"/>
              <a:r>
                <a:rPr lang="en-IN" sz="1350" i="1" dirty="0">
                  <a:solidFill>
                    <a:srgbClr val="FFFFFF"/>
                  </a:solidFill>
                  <a:latin typeface="Helvetica Neue Light"/>
                  <a:ea typeface="Helvetica Neue Light"/>
                  <a:cs typeface="Helvetica Neue Light"/>
                  <a:sym typeface="Helvetica Neue Light"/>
                </a:rPr>
                <a:t>Find  Product</a:t>
              </a:r>
              <a:endParaRPr sz="1350" i="1" dirty="0">
                <a:solidFill>
                  <a:srgbClr val="FFFFFF"/>
                </a:solidFill>
                <a:latin typeface="Helvetica Neue Light"/>
                <a:ea typeface="Helvetica Neue Light"/>
                <a:cs typeface="Helvetica Neue Light"/>
                <a:sym typeface="Helvetica Neue Light"/>
              </a:endParaRPr>
            </a:p>
            <a:p>
              <a:pPr marL="439579" marR="433864" indent="150494"/>
              <a:endParaRPr sz="1350" i="1" dirty="0">
                <a:solidFill>
                  <a:srgbClr val="FFFFFF"/>
                </a:solidFill>
                <a:latin typeface="Helvetica Neue Light"/>
                <a:ea typeface="Helvetica Neue Light"/>
                <a:cs typeface="Helvetica Neue Light"/>
                <a:sym typeface="Helvetica Neue Light"/>
              </a:endParaRPr>
            </a:p>
            <a:p>
              <a:pPr marL="439579" marR="433864" indent="150494"/>
              <a:endParaRPr sz="1350" dirty="0">
                <a:latin typeface="Helvetica Neue Light"/>
                <a:ea typeface="Helvetica Neue Light"/>
                <a:cs typeface="Helvetica Neue Light"/>
                <a:sym typeface="Helvetica Neue Light"/>
              </a:endParaRPr>
            </a:p>
          </p:txBody>
        </p:sp>
        <p:sp>
          <p:nvSpPr>
            <p:cNvPr id="692" name="Google Shape;692;p62"/>
            <p:cNvSpPr txBox="1"/>
            <p:nvPr/>
          </p:nvSpPr>
          <p:spPr>
            <a:xfrm>
              <a:off x="7521922" y="648625"/>
              <a:ext cx="2292601" cy="1594093"/>
            </a:xfrm>
            <a:prstGeom prst="rect">
              <a:avLst/>
            </a:prstGeom>
            <a:solidFill>
              <a:srgbClr val="3366FF"/>
            </a:solidFill>
            <a:ln>
              <a:noFill/>
            </a:ln>
          </p:spPr>
          <p:txBody>
            <a:bodyPr spcFirstLastPara="1" wrap="square" lIns="0" tIns="4763" rIns="0" bIns="0" anchor="t" anchorCtr="0">
              <a:spAutoFit/>
            </a:bodyPr>
            <a:lstStyle/>
            <a:p>
              <a:endParaRPr sz="1350" dirty="0">
                <a:latin typeface="Helvetica Neue Light"/>
                <a:ea typeface="Helvetica Neue Light"/>
                <a:cs typeface="Helvetica Neue Light"/>
                <a:sym typeface="Helvetica Neue Light"/>
              </a:endParaRPr>
            </a:p>
            <a:p>
              <a:pPr marL="439579" marR="433864" indent="127634"/>
              <a:r>
                <a:rPr lang="en-IN" sz="1350" i="1" dirty="0">
                  <a:solidFill>
                    <a:srgbClr val="FFFFFF"/>
                  </a:solidFill>
                  <a:latin typeface="Helvetica Neue Light"/>
                  <a:ea typeface="Helvetica Neue Light"/>
                  <a:cs typeface="Helvetica Neue Light"/>
                  <a:sym typeface="Helvetica Neue Light"/>
                </a:rPr>
                <a:t>View  Product</a:t>
              </a:r>
              <a:endParaRPr sz="1350" i="1" dirty="0">
                <a:solidFill>
                  <a:srgbClr val="FFFFFF"/>
                </a:solidFill>
                <a:latin typeface="Helvetica Neue Light"/>
                <a:ea typeface="Helvetica Neue Light"/>
                <a:cs typeface="Helvetica Neue Light"/>
                <a:sym typeface="Helvetica Neue Light"/>
              </a:endParaRPr>
            </a:p>
            <a:p>
              <a:pPr marL="439579" marR="433864" indent="127634"/>
              <a:endParaRPr sz="1350" i="1" dirty="0">
                <a:solidFill>
                  <a:srgbClr val="FFFFFF"/>
                </a:solidFill>
                <a:latin typeface="Helvetica Neue Light"/>
                <a:ea typeface="Helvetica Neue Light"/>
                <a:cs typeface="Helvetica Neue Light"/>
                <a:sym typeface="Helvetica Neue Light"/>
              </a:endParaRPr>
            </a:p>
            <a:p>
              <a:pPr marL="439579" marR="433864" indent="127634"/>
              <a:endParaRPr sz="1350" dirty="0">
                <a:latin typeface="Helvetica Neue Light"/>
                <a:ea typeface="Helvetica Neue Light"/>
                <a:cs typeface="Helvetica Neue Light"/>
                <a:sym typeface="Helvetica Neue Light"/>
              </a:endParaRPr>
            </a:p>
          </p:txBody>
        </p:sp>
        <p:sp>
          <p:nvSpPr>
            <p:cNvPr id="693" name="Google Shape;693;p62"/>
            <p:cNvSpPr txBox="1"/>
            <p:nvPr/>
          </p:nvSpPr>
          <p:spPr>
            <a:xfrm>
              <a:off x="4705968" y="4973916"/>
              <a:ext cx="2208162" cy="1591866"/>
            </a:xfrm>
            <a:prstGeom prst="rect">
              <a:avLst/>
            </a:prstGeom>
            <a:solidFill>
              <a:srgbClr val="FBFF69"/>
            </a:solidFill>
            <a:ln>
              <a:noFill/>
            </a:ln>
          </p:spPr>
          <p:txBody>
            <a:bodyPr spcFirstLastPara="1" wrap="square" lIns="0" tIns="3319" rIns="0" bIns="0" anchor="t" anchorCtr="0">
              <a:spAutoFit/>
            </a:bodyPr>
            <a:lstStyle/>
            <a:p>
              <a:endParaRPr sz="1350" dirty="0">
                <a:latin typeface="Helvetica Neue Light"/>
                <a:ea typeface="Helvetica Neue Light"/>
                <a:cs typeface="Helvetica Neue Light"/>
                <a:sym typeface="Helvetica Neue Light"/>
              </a:endParaRPr>
            </a:p>
            <a:p>
              <a:pPr marL="383857" marR="377189" indent="102394">
                <a:spcBef>
                  <a:spcPts val="4"/>
                </a:spcBef>
              </a:pPr>
              <a:r>
                <a:rPr lang="en-IN" sz="1350" i="1" dirty="0">
                  <a:solidFill>
                    <a:srgbClr val="454646"/>
                  </a:solidFill>
                  <a:latin typeface="Helvetica Neue Light"/>
                  <a:ea typeface="Helvetica Neue Light"/>
                  <a:cs typeface="Helvetica Neue Light"/>
                  <a:sym typeface="Helvetica Neue Light"/>
                </a:rPr>
                <a:t>Search  By Name</a:t>
              </a:r>
              <a:endParaRPr sz="1350" i="1" dirty="0">
                <a:solidFill>
                  <a:srgbClr val="454646"/>
                </a:solidFill>
                <a:latin typeface="Helvetica Neue Light"/>
                <a:ea typeface="Helvetica Neue Light"/>
                <a:cs typeface="Helvetica Neue Light"/>
                <a:sym typeface="Helvetica Neue Light"/>
              </a:endParaRPr>
            </a:p>
            <a:p>
              <a:pPr marL="383857" marR="377189" indent="102394">
                <a:spcBef>
                  <a:spcPts val="4"/>
                </a:spcBef>
              </a:pPr>
              <a:endParaRPr sz="1350" dirty="0">
                <a:latin typeface="Helvetica Neue Light"/>
                <a:ea typeface="Helvetica Neue Light"/>
                <a:cs typeface="Helvetica Neue Light"/>
                <a:sym typeface="Helvetica Neue Light"/>
              </a:endParaRPr>
            </a:p>
          </p:txBody>
        </p:sp>
        <p:sp>
          <p:nvSpPr>
            <p:cNvPr id="694" name="Google Shape;694;p62"/>
            <p:cNvSpPr txBox="1"/>
            <p:nvPr/>
          </p:nvSpPr>
          <p:spPr>
            <a:xfrm>
              <a:off x="7324970" y="5005846"/>
              <a:ext cx="2292669" cy="1274517"/>
            </a:xfrm>
            <a:prstGeom prst="rect">
              <a:avLst/>
            </a:prstGeom>
            <a:solidFill>
              <a:srgbClr val="FBFF69"/>
            </a:solidFill>
            <a:ln>
              <a:noFill/>
            </a:ln>
          </p:spPr>
          <p:txBody>
            <a:bodyPr spcFirstLastPara="1" wrap="square" lIns="0" tIns="3319" rIns="0" bIns="0" anchor="t" anchorCtr="0">
              <a:spAutoFit/>
            </a:bodyPr>
            <a:lstStyle/>
            <a:p>
              <a:endParaRPr sz="1350" dirty="0">
                <a:latin typeface="Helvetica Neue Light"/>
                <a:ea typeface="Helvetica Neue Light"/>
                <a:cs typeface="Helvetica Neue Light"/>
                <a:sym typeface="Helvetica Neue Light"/>
              </a:endParaRPr>
            </a:p>
            <a:p>
              <a:pPr marL="479108" marR="472916" indent="88582">
                <a:spcBef>
                  <a:spcPts val="4"/>
                </a:spcBef>
              </a:pPr>
              <a:r>
                <a:rPr lang="en-IN" sz="1350" i="1" dirty="0">
                  <a:solidFill>
                    <a:srgbClr val="454646"/>
                  </a:solidFill>
                  <a:latin typeface="Helvetica Neue Light"/>
                  <a:ea typeface="Helvetica Neue Light"/>
                  <a:cs typeface="Helvetica Neue Light"/>
                  <a:sym typeface="Helvetica Neue Light"/>
                </a:rPr>
                <a:t>View  Names</a:t>
              </a:r>
              <a:endParaRPr sz="1350" i="1" dirty="0">
                <a:solidFill>
                  <a:srgbClr val="454646"/>
                </a:solidFill>
                <a:latin typeface="Helvetica Neue Light"/>
                <a:ea typeface="Helvetica Neue Light"/>
                <a:cs typeface="Helvetica Neue Light"/>
                <a:sym typeface="Helvetica Neue Light"/>
              </a:endParaRPr>
            </a:p>
            <a:p>
              <a:pPr marL="479108" marR="472916" indent="88582">
                <a:spcBef>
                  <a:spcPts val="4"/>
                </a:spcBef>
              </a:pPr>
              <a:endParaRPr sz="1350" dirty="0">
                <a:latin typeface="Helvetica Neue Light"/>
                <a:ea typeface="Helvetica Neue Light"/>
                <a:cs typeface="Helvetica Neue Light"/>
                <a:sym typeface="Helvetica Neue Light"/>
              </a:endParaRPr>
            </a:p>
          </p:txBody>
        </p:sp>
        <p:sp>
          <p:nvSpPr>
            <p:cNvPr id="695" name="Google Shape;695;p62"/>
            <p:cNvSpPr txBox="1"/>
            <p:nvPr/>
          </p:nvSpPr>
          <p:spPr>
            <a:xfrm>
              <a:off x="9730079" y="5005854"/>
              <a:ext cx="2208299" cy="1274517"/>
            </a:xfrm>
            <a:prstGeom prst="rect">
              <a:avLst/>
            </a:prstGeom>
            <a:solidFill>
              <a:srgbClr val="FBFF69"/>
            </a:solidFill>
            <a:ln>
              <a:noFill/>
            </a:ln>
          </p:spPr>
          <p:txBody>
            <a:bodyPr spcFirstLastPara="1" wrap="square" lIns="0" tIns="3319" rIns="0" bIns="0" anchor="t" anchorCtr="0">
              <a:spAutoFit/>
            </a:bodyPr>
            <a:lstStyle/>
            <a:p>
              <a:endParaRPr sz="1350" dirty="0">
                <a:latin typeface="Helvetica Neue Light"/>
                <a:ea typeface="Helvetica Neue Light"/>
                <a:cs typeface="Helvetica Neue Light"/>
                <a:sym typeface="Helvetica Neue Light"/>
              </a:endParaRPr>
            </a:p>
            <a:p>
              <a:pPr marL="288608" marR="281940" indent="279083">
                <a:spcBef>
                  <a:spcPts val="4"/>
                </a:spcBef>
              </a:pPr>
              <a:r>
                <a:rPr lang="en-IN" sz="1350" i="1" dirty="0">
                  <a:solidFill>
                    <a:srgbClr val="454646"/>
                  </a:solidFill>
                  <a:latin typeface="Helvetica Neue Light"/>
                  <a:ea typeface="Helvetica Neue Light"/>
                  <a:cs typeface="Helvetica Neue Light"/>
                  <a:sym typeface="Helvetica Neue Light"/>
                </a:rPr>
                <a:t>View  Description</a:t>
              </a:r>
              <a:endParaRPr sz="1350" i="1" dirty="0">
                <a:solidFill>
                  <a:srgbClr val="454646"/>
                </a:solidFill>
                <a:latin typeface="Helvetica Neue Light"/>
                <a:ea typeface="Helvetica Neue Light"/>
                <a:cs typeface="Helvetica Neue Light"/>
                <a:sym typeface="Helvetica Neue Light"/>
              </a:endParaRPr>
            </a:p>
            <a:p>
              <a:pPr marL="288608" marR="281940" indent="279083">
                <a:spcBef>
                  <a:spcPts val="4"/>
                </a:spcBef>
              </a:pPr>
              <a:endParaRPr sz="1350" dirty="0">
                <a:latin typeface="Helvetica Neue Light"/>
                <a:ea typeface="Helvetica Neue Light"/>
                <a:cs typeface="Helvetica Neue Light"/>
                <a:sym typeface="Helvetica Neue Light"/>
              </a:endParaRPr>
            </a:p>
          </p:txBody>
        </p:sp>
        <p:sp>
          <p:nvSpPr>
            <p:cNvPr id="696" name="Google Shape;696;p62"/>
            <p:cNvSpPr/>
            <p:nvPr/>
          </p:nvSpPr>
          <p:spPr>
            <a:xfrm>
              <a:off x="4024362" y="4515778"/>
              <a:ext cx="8168005" cy="0"/>
            </a:xfrm>
            <a:custGeom>
              <a:avLst/>
              <a:gdLst/>
              <a:ahLst/>
              <a:cxnLst/>
              <a:rect l="l" t="t" r="r" b="b"/>
              <a:pathLst>
                <a:path w="8168005" h="120000" extrusionOk="0">
                  <a:moveTo>
                    <a:pt x="0" y="0"/>
                  </a:moveTo>
                  <a:lnTo>
                    <a:pt x="8167638" y="0"/>
                  </a:lnTo>
                </a:path>
              </a:pathLst>
            </a:custGeom>
            <a:noFill/>
            <a:ln w="57150" cap="flat" cmpd="sng">
              <a:solidFill>
                <a:srgbClr val="3366FF"/>
              </a:solidFill>
              <a:prstDash val="solid"/>
              <a:round/>
              <a:headEnd type="none" w="sm" len="sm"/>
              <a:tailEnd type="none" w="sm" len="sm"/>
            </a:ln>
          </p:spPr>
          <p:txBody>
            <a:bodyPr spcFirstLastPara="1" wrap="square" lIns="0" tIns="0" rIns="0" bIns="0" anchor="t" anchorCtr="0">
              <a:noAutofit/>
            </a:bodyPr>
            <a:lstStyle/>
            <a:p>
              <a:endParaRPr sz="1050" dirty="0"/>
            </a:p>
          </p:txBody>
        </p:sp>
        <p:sp>
          <p:nvSpPr>
            <p:cNvPr id="697" name="Google Shape;697;p62"/>
            <p:cNvSpPr txBox="1"/>
            <p:nvPr/>
          </p:nvSpPr>
          <p:spPr>
            <a:xfrm>
              <a:off x="-921051" y="909076"/>
              <a:ext cx="3666600" cy="3808147"/>
            </a:xfrm>
            <a:prstGeom prst="rect">
              <a:avLst/>
            </a:prstGeom>
            <a:noFill/>
            <a:ln>
              <a:noFill/>
            </a:ln>
          </p:spPr>
          <p:txBody>
            <a:bodyPr spcFirstLastPara="1" wrap="square" lIns="68569" tIns="34275" rIns="68569" bIns="34275" anchor="t" anchorCtr="0">
              <a:spAutoFit/>
            </a:bodyPr>
            <a:lstStyle/>
            <a:p>
              <a:pPr>
                <a:lnSpc>
                  <a:spcPct val="150000"/>
                </a:lnSpc>
              </a:pPr>
              <a:r>
                <a:rPr lang="en-IN" sz="1500" dirty="0">
                  <a:latin typeface="Arial" panose="020B0604020202020204" pitchFamily="34" charset="0"/>
                  <a:ea typeface="Proxima Nova"/>
                  <a:cs typeface="Arial" panose="020B0604020202020204" pitchFamily="34" charset="0"/>
                  <a:sym typeface="Proxima Nova"/>
                </a:rPr>
                <a:t>These should also be around the map:</a:t>
              </a:r>
              <a:endParaRPr sz="1500" dirty="0">
                <a:latin typeface="Arial" panose="020B0604020202020204" pitchFamily="34" charset="0"/>
                <a:ea typeface="Proxima Nova"/>
                <a:cs typeface="Arial" panose="020B0604020202020204" pitchFamily="34" charset="0"/>
                <a:sym typeface="Proxima Nova"/>
              </a:endParaRPr>
            </a:p>
            <a:p>
              <a:pPr marL="214313" indent="-223838">
                <a:lnSpc>
                  <a:spcPct val="150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Product Goals</a:t>
              </a:r>
              <a:endParaRPr sz="1500" dirty="0">
                <a:latin typeface="Arial" panose="020B0604020202020204" pitchFamily="34" charset="0"/>
                <a:ea typeface="Proxima Nova"/>
                <a:cs typeface="Arial" panose="020B0604020202020204" pitchFamily="34" charset="0"/>
                <a:sym typeface="Proxima Nova"/>
              </a:endParaRPr>
            </a:p>
            <a:p>
              <a:pPr marL="214313" indent="-223838">
                <a:lnSpc>
                  <a:spcPct val="150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UI Sketches/Wireframes</a:t>
              </a:r>
              <a:endParaRPr sz="1500" dirty="0">
                <a:latin typeface="Arial" panose="020B0604020202020204" pitchFamily="34" charset="0"/>
                <a:ea typeface="Proxima Nova"/>
                <a:cs typeface="Arial" panose="020B0604020202020204" pitchFamily="34" charset="0"/>
                <a:sym typeface="Proxima Nova"/>
              </a:endParaRPr>
            </a:p>
            <a:p>
              <a:pPr marL="214313" indent="-223838">
                <a:lnSpc>
                  <a:spcPct val="150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Ideas &amp; Principles</a:t>
              </a:r>
              <a:endParaRPr sz="1500" dirty="0">
                <a:latin typeface="Arial" panose="020B0604020202020204" pitchFamily="34" charset="0"/>
                <a:ea typeface="Proxima Nova"/>
                <a:cs typeface="Arial" panose="020B0604020202020204" pitchFamily="34" charset="0"/>
                <a:sym typeface="Proxima Nova"/>
              </a:endParaRPr>
            </a:p>
            <a:p>
              <a:pPr marL="214313" indent="-223838">
                <a:lnSpc>
                  <a:spcPct val="150000"/>
                </a:lnSpc>
                <a:buSzPts val="2000"/>
                <a:buFont typeface="Proxima Nova"/>
                <a:buChar char="•"/>
              </a:pPr>
              <a:r>
                <a:rPr lang="en-IN" sz="1500" dirty="0">
                  <a:latin typeface="Arial" panose="020B0604020202020204" pitchFamily="34" charset="0"/>
                  <a:ea typeface="Proxima Nova"/>
                  <a:cs typeface="Arial" panose="020B0604020202020204" pitchFamily="34" charset="0"/>
                  <a:sym typeface="Proxima Nova"/>
                </a:rPr>
                <a:t>Personas</a:t>
              </a:r>
              <a:endParaRPr sz="1500" dirty="0">
                <a:latin typeface="Arial" panose="020B0604020202020204" pitchFamily="34" charset="0"/>
                <a:ea typeface="Proxima Nova"/>
                <a:cs typeface="Arial" panose="020B0604020202020204" pitchFamily="34" charset="0"/>
                <a:sym typeface="Proxima Nova"/>
              </a:endParaRPr>
            </a:p>
          </p:txBody>
        </p:sp>
      </p:grpSp>
      <p:sp>
        <p:nvSpPr>
          <p:cNvPr id="698" name="Google Shape;698;p62"/>
          <p:cNvSpPr txBox="1">
            <a:spLocks noGrp="1"/>
          </p:cNvSpPr>
          <p:nvPr>
            <p:ph type="sldNum" idx="12"/>
          </p:nvPr>
        </p:nvSpPr>
        <p:spPr>
          <a:xfrm>
            <a:off x="8556784" y="4749851"/>
            <a:ext cx="548775" cy="393525"/>
          </a:xfrm>
          <a:prstGeom prst="rect">
            <a:avLst/>
          </a:prstGeom>
        </p:spPr>
        <p:txBody>
          <a:bodyPr spcFirstLastPara="1" wrap="square" lIns="91425" tIns="91425" rIns="91425" bIns="91425" anchor="t" anchorCtr="0">
            <a:noAutofit/>
          </a:bodyPr>
          <a:lstStyle/>
          <a:p>
            <a:pPr>
              <a:buSzPts val="1700"/>
            </a:pPr>
            <a:fld id="{00000000-1234-1234-1234-123412341234}" type="slidenum">
              <a:rPr lang="en-IN"/>
              <a:pPr>
                <a:buSzPts val="1700"/>
              </a:pPr>
              <a:t>35</a:t>
            </a:fld>
            <a:endParaRP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292">
          <a:extLst>
            <a:ext uri="{FF2B5EF4-FFF2-40B4-BE49-F238E27FC236}">
              <a16:creationId xmlns:a16="http://schemas.microsoft.com/office/drawing/2014/main" id="{08B4FE79-2026-1B54-BC7C-903C1144CAC4}"/>
            </a:ext>
          </a:extLst>
        </p:cNvPr>
        <p:cNvGrpSpPr/>
        <p:nvPr/>
      </p:nvGrpSpPr>
      <p:grpSpPr>
        <a:xfrm>
          <a:off x="0" y="0"/>
          <a:ext cx="0" cy="0"/>
          <a:chOff x="0" y="0"/>
          <a:chExt cx="0" cy="0"/>
        </a:xfrm>
      </p:grpSpPr>
      <p:sp>
        <p:nvSpPr>
          <p:cNvPr id="1293" name="Google Shape;1293;p112">
            <a:extLst>
              <a:ext uri="{FF2B5EF4-FFF2-40B4-BE49-F238E27FC236}">
                <a16:creationId xmlns:a16="http://schemas.microsoft.com/office/drawing/2014/main" id="{C7311F1F-7E01-E3CE-336D-6BB7E81AD7A9}"/>
              </a:ext>
            </a:extLst>
          </p:cNvPr>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1294" name="Google Shape;1294;p112">
            <a:extLst>
              <a:ext uri="{FF2B5EF4-FFF2-40B4-BE49-F238E27FC236}">
                <a16:creationId xmlns:a16="http://schemas.microsoft.com/office/drawing/2014/main" id="{1DA284B6-B730-8715-F341-BCE1D31196F4}"/>
              </a:ext>
            </a:extLst>
          </p:cNvPr>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dirty="0"/>
              <a:t>Sprint Planning with Security in Mind</a:t>
            </a:r>
            <a:endParaRPr dirty="0"/>
          </a:p>
        </p:txBody>
      </p:sp>
      <p:sp>
        <p:nvSpPr>
          <p:cNvPr id="1295" name="Google Shape;1295;p112">
            <a:extLst>
              <a:ext uri="{FF2B5EF4-FFF2-40B4-BE49-F238E27FC236}">
                <a16:creationId xmlns:a16="http://schemas.microsoft.com/office/drawing/2014/main" id="{FF985CA9-E75A-8CFD-AAFB-ED8539E9B881}"/>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sp>
        <p:nvSpPr>
          <p:cNvPr id="1296" name="Google Shape;1296;p112">
            <a:extLst>
              <a:ext uri="{FF2B5EF4-FFF2-40B4-BE49-F238E27FC236}">
                <a16:creationId xmlns:a16="http://schemas.microsoft.com/office/drawing/2014/main" id="{9B07E52C-2E58-03A8-B8D1-24E2E2DB6257}"/>
              </a:ext>
            </a:extLst>
          </p:cNvPr>
          <p:cNvSpPr txBox="1"/>
          <p:nvPr/>
        </p:nvSpPr>
        <p:spPr>
          <a:xfrm>
            <a:off x="3984784" y="2130581"/>
            <a:ext cx="4572000" cy="147728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00" b="0" i="0" u="none" strike="noStrike" cap="none" dirty="0">
                <a:solidFill>
                  <a:srgbClr val="D4D4D4"/>
                </a:solidFill>
                <a:latin typeface="Arial"/>
                <a:ea typeface="Arial"/>
                <a:cs typeface="Arial"/>
                <a:sym typeface="Arial"/>
              </a:rPr>
              <a:t>Using the threat model</a:t>
            </a:r>
            <a:r>
              <a:rPr lang="en-US" sz="1000" dirty="0">
                <a:solidFill>
                  <a:srgbClr val="D4D4D4"/>
                </a:solidFill>
              </a:rPr>
              <a:t>, a list of users/personas, and the high-level diagram you created for your scenario, identify a feature you would like to build in a single sprint. For that sprint, create a set of high-level user stories with acceptance criteria and story points. For each story, discuss the following:</a:t>
            </a:r>
          </a:p>
          <a:p>
            <a:pPr marL="0" marR="0" lvl="0" indent="0" algn="l" rtl="0">
              <a:lnSpc>
                <a:spcPct val="100000"/>
              </a:lnSpc>
              <a:spcBef>
                <a:spcPts val="0"/>
              </a:spcBef>
              <a:spcAft>
                <a:spcPts val="0"/>
              </a:spcAft>
              <a:buNone/>
            </a:pPr>
            <a:endParaRPr lang="en-US" sz="1000" b="0" i="0" u="none" strike="noStrike" cap="none" dirty="0">
              <a:solidFill>
                <a:srgbClr val="D4D4D4"/>
              </a:solidFill>
              <a:latin typeface="Arial"/>
              <a:ea typeface="Arial"/>
              <a:cs typeface="Arial"/>
              <a:sym typeface="Arial"/>
            </a:endParaRP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b="0" i="0" u="none" strike="noStrike" cap="none" dirty="0">
                <a:solidFill>
                  <a:srgbClr val="D4D4D4"/>
                </a:solidFill>
                <a:latin typeface="Arial"/>
                <a:ea typeface="Arial"/>
                <a:cs typeface="Arial"/>
                <a:sym typeface="Arial"/>
              </a:rPr>
              <a:t>Have you accounted for security in the definition and acceptance criteria?</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dirty="0">
                <a:solidFill>
                  <a:srgbClr val="D4D4D4"/>
                </a:solidFill>
              </a:rPr>
              <a:t>How best to describe each to keep the story detail accessible &amp; understandable to multiple roles (engineers, business, QA)?</a:t>
            </a:r>
          </a:p>
          <a:p>
            <a:pPr marL="171450" marR="0" lvl="0" indent="-171450" algn="l" rtl="0">
              <a:lnSpc>
                <a:spcPct val="100000"/>
              </a:lnSpc>
              <a:spcBef>
                <a:spcPts val="0"/>
              </a:spcBef>
              <a:spcAft>
                <a:spcPts val="0"/>
              </a:spcAft>
              <a:buClr>
                <a:schemeClr val="bg1"/>
              </a:buClr>
              <a:buFont typeface="Arial" panose="020B0604020202020204" pitchFamily="34" charset="0"/>
              <a:buChar char="●"/>
            </a:pPr>
            <a:r>
              <a:rPr lang="en-US" sz="1000" b="0" i="0" u="none" strike="noStrike" cap="none" dirty="0">
                <a:solidFill>
                  <a:srgbClr val="D4D4D4"/>
                </a:solidFill>
                <a:latin typeface="Arial"/>
                <a:ea typeface="Arial"/>
                <a:cs typeface="Arial"/>
                <a:sym typeface="Arial"/>
              </a:rPr>
              <a:t>Are the assigned </a:t>
            </a:r>
            <a:r>
              <a:rPr lang="en-US" sz="1000" dirty="0">
                <a:solidFill>
                  <a:srgbClr val="D4D4D4"/>
                </a:solidFill>
              </a:rPr>
              <a:t>points sufficient to account for security concerns?</a:t>
            </a:r>
            <a:endParaRPr lang="en-US" sz="1000" b="0" i="0" u="none" strike="noStrike" cap="none" dirty="0">
              <a:solidFill>
                <a:srgbClr val="D4D4D4"/>
              </a:solidFill>
              <a:latin typeface="Arial"/>
              <a:ea typeface="Arial"/>
              <a:cs typeface="Arial"/>
              <a:sym typeface="Arial"/>
            </a:endParaRPr>
          </a:p>
        </p:txBody>
      </p:sp>
    </p:spTree>
    <p:extLst>
      <p:ext uri="{BB962C8B-B14F-4D97-AF65-F5344CB8AC3E}">
        <p14:creationId xmlns:p14="http://schemas.microsoft.com/office/powerpoint/2010/main" val="35362592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707DC3-AEC0-EB1B-D1D0-FE10E09F14D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0B0BE9D-70F3-1F34-35FD-3AD6B9820A2F}"/>
              </a:ext>
            </a:extLst>
          </p:cNvPr>
          <p:cNvSpPr>
            <a:spLocks noGrp="1"/>
          </p:cNvSpPr>
          <p:nvPr>
            <p:ph type="title"/>
          </p:nvPr>
        </p:nvSpPr>
        <p:spPr/>
        <p:txBody>
          <a:bodyPr/>
          <a:lstStyle/>
          <a:p>
            <a:r>
              <a:rPr lang="en-US" dirty="0"/>
              <a:t>Security Focused Testing</a:t>
            </a:r>
          </a:p>
        </p:txBody>
      </p:sp>
    </p:spTree>
    <p:extLst>
      <p:ext uri="{BB962C8B-B14F-4D97-AF65-F5344CB8AC3E}">
        <p14:creationId xmlns:p14="http://schemas.microsoft.com/office/powerpoint/2010/main" val="9368175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784"/>
        <p:cNvGrpSpPr/>
        <p:nvPr/>
      </p:nvGrpSpPr>
      <p:grpSpPr>
        <a:xfrm>
          <a:off x="0" y="0"/>
          <a:ext cx="0" cy="0"/>
          <a:chOff x="0" y="0"/>
          <a:chExt cx="0" cy="0"/>
        </a:xfrm>
      </p:grpSpPr>
      <p:sp>
        <p:nvSpPr>
          <p:cNvPr id="785" name="Google Shape;785;p70"/>
          <p:cNvSpPr txBox="1">
            <a:spLocks noGrp="1"/>
          </p:cNvSpPr>
          <p:nvPr>
            <p:ph type="title"/>
          </p:nvPr>
        </p:nvSpPr>
        <p:spPr>
          <a:xfrm>
            <a:off x="613700" y="714275"/>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1800"/>
            </a:pPr>
            <a:r>
              <a:rPr lang="en-IN" dirty="0">
                <a:latin typeface="Helvetica Neue"/>
                <a:ea typeface="Helvetica Neue"/>
                <a:cs typeface="Helvetica Neue"/>
                <a:sym typeface="Helvetica Neue"/>
              </a:rPr>
              <a:t>Testing Pyramids</a:t>
            </a:r>
            <a:endParaRPr dirty="0">
              <a:latin typeface="Helvetica Neue"/>
              <a:ea typeface="Helvetica Neue"/>
              <a:cs typeface="Helvetica Neue"/>
              <a:sym typeface="Helvetica Neue"/>
            </a:endParaRPr>
          </a:p>
        </p:txBody>
      </p:sp>
      <p:sp>
        <p:nvSpPr>
          <p:cNvPr id="786" name="Google Shape;786;p70"/>
          <p:cNvSpPr txBox="1">
            <a:spLocks noGrp="1"/>
          </p:cNvSpPr>
          <p:nvPr>
            <p:ph type="sldNum" idx="12"/>
          </p:nvPr>
        </p:nvSpPr>
        <p:spPr>
          <a:xfrm>
            <a:off x="8556784" y="4749851"/>
            <a:ext cx="548775" cy="393525"/>
          </a:xfrm>
          <a:prstGeom prst="rect">
            <a:avLst/>
          </a:prstGeom>
          <a:noFill/>
          <a:ln>
            <a:noFill/>
          </a:ln>
        </p:spPr>
        <p:txBody>
          <a:bodyPr spcFirstLastPara="1" wrap="square" lIns="68569" tIns="34275" rIns="68569" bIns="34275" anchor="ctr" anchorCtr="0">
            <a:noAutofit/>
          </a:bodyPr>
          <a:lstStyle/>
          <a:p>
            <a:pPr>
              <a:buSzPts val="1700"/>
            </a:pPr>
            <a:fld id="{00000000-1234-1234-1234-123412341234}" type="slidenum">
              <a:rPr lang="en-IN" sz="1275">
                <a:solidFill>
                  <a:schemeClr val="tx1"/>
                </a:solidFill>
              </a:rPr>
              <a:pPr>
                <a:buSzPts val="1700"/>
              </a:pPr>
              <a:t>38</a:t>
            </a:fld>
            <a:endParaRPr sz="1275" dirty="0">
              <a:solidFill>
                <a:schemeClr val="tx1"/>
              </a:solidFill>
            </a:endParaRPr>
          </a:p>
        </p:txBody>
      </p:sp>
      <p:pic>
        <p:nvPicPr>
          <p:cNvPr id="787" name="Google Shape;787;p70"/>
          <p:cNvPicPr preferRelativeResize="0"/>
          <p:nvPr/>
        </p:nvPicPr>
        <p:blipFill rotWithShape="1">
          <a:blip r:embed="rId3">
            <a:alphaModFix/>
          </a:blip>
          <a:srcRect/>
          <a:stretch/>
        </p:blipFill>
        <p:spPr>
          <a:xfrm>
            <a:off x="714373" y="1130141"/>
            <a:ext cx="2864644" cy="3500438"/>
          </a:xfrm>
          <a:prstGeom prst="rect">
            <a:avLst/>
          </a:prstGeom>
          <a:noFill/>
          <a:ln>
            <a:noFill/>
          </a:ln>
        </p:spPr>
      </p:pic>
      <p:pic>
        <p:nvPicPr>
          <p:cNvPr id="788" name="Google Shape;788;p70"/>
          <p:cNvPicPr preferRelativeResize="0"/>
          <p:nvPr/>
        </p:nvPicPr>
        <p:blipFill rotWithShape="1">
          <a:blip r:embed="rId4">
            <a:alphaModFix/>
          </a:blip>
          <a:srcRect/>
          <a:stretch/>
        </p:blipFill>
        <p:spPr>
          <a:xfrm>
            <a:off x="5107310" y="1033701"/>
            <a:ext cx="3679031" cy="3693319"/>
          </a:xfrm>
          <a:prstGeom prst="rect">
            <a:avLst/>
          </a:prstGeom>
          <a:noFill/>
          <a:ln>
            <a:noFill/>
          </a:ln>
        </p:spPr>
      </p:pic>
      <p:grpSp>
        <p:nvGrpSpPr>
          <p:cNvPr id="789" name="Google Shape;789;p70"/>
          <p:cNvGrpSpPr/>
          <p:nvPr/>
        </p:nvGrpSpPr>
        <p:grpSpPr>
          <a:xfrm>
            <a:off x="3643313" y="1130142"/>
            <a:ext cx="1569245" cy="3596848"/>
            <a:chOff x="4857750" y="1506855"/>
            <a:chExt cx="2092327" cy="4795798"/>
          </a:xfrm>
        </p:grpSpPr>
        <p:cxnSp>
          <p:nvCxnSpPr>
            <p:cNvPr id="790" name="Google Shape;790;p70"/>
            <p:cNvCxnSpPr/>
            <p:nvPr/>
          </p:nvCxnSpPr>
          <p:spPr>
            <a:xfrm>
              <a:off x="5772150" y="2045969"/>
              <a:ext cx="0" cy="3737609"/>
            </a:xfrm>
            <a:prstGeom prst="straightConnector1">
              <a:avLst/>
            </a:prstGeom>
            <a:noFill/>
            <a:ln w="57150" cap="flat" cmpd="sng">
              <a:solidFill>
                <a:srgbClr val="3E6EC2"/>
              </a:solidFill>
              <a:prstDash val="solid"/>
              <a:round/>
              <a:headEnd type="triangle" w="med" len="med"/>
              <a:tailEnd type="triangle" w="med" len="med"/>
            </a:ln>
          </p:spPr>
        </p:cxnSp>
        <p:sp>
          <p:nvSpPr>
            <p:cNvPr id="791" name="Google Shape;791;p70"/>
            <p:cNvSpPr txBox="1"/>
            <p:nvPr/>
          </p:nvSpPr>
          <p:spPr>
            <a:xfrm>
              <a:off x="4857750" y="1506855"/>
              <a:ext cx="2080258" cy="646291"/>
            </a:xfrm>
            <a:prstGeom prst="rect">
              <a:avLst/>
            </a:prstGeom>
            <a:noFill/>
            <a:ln>
              <a:noFill/>
            </a:ln>
          </p:spPr>
          <p:txBody>
            <a:bodyPr spcFirstLastPara="1" wrap="square" lIns="68569" tIns="34275" rIns="68569" bIns="34275" anchor="t" anchorCtr="0">
              <a:spAutoFit/>
            </a:bodyPr>
            <a:lstStyle/>
            <a:p>
              <a:r>
                <a:rPr lang="en-IN" sz="1350" b="1" dirty="0">
                  <a:latin typeface="Helvetica Neue Light"/>
                  <a:ea typeface="Helvetica Neue Light"/>
                  <a:cs typeface="Helvetica Neue Light"/>
                  <a:sym typeface="Helvetica Neue Light"/>
                </a:rPr>
                <a:t>More Time &amp; Effort</a:t>
              </a:r>
              <a:endParaRPr sz="1050" dirty="0"/>
            </a:p>
          </p:txBody>
        </p:sp>
        <p:sp>
          <p:nvSpPr>
            <p:cNvPr id="792" name="Google Shape;792;p70"/>
            <p:cNvSpPr txBox="1"/>
            <p:nvPr/>
          </p:nvSpPr>
          <p:spPr>
            <a:xfrm>
              <a:off x="4869819" y="5933361"/>
              <a:ext cx="2080258" cy="369292"/>
            </a:xfrm>
            <a:prstGeom prst="rect">
              <a:avLst/>
            </a:prstGeom>
            <a:noFill/>
            <a:ln>
              <a:noFill/>
            </a:ln>
          </p:spPr>
          <p:txBody>
            <a:bodyPr spcFirstLastPara="1" wrap="square" lIns="68569" tIns="34275" rIns="68569" bIns="34275" anchor="t" anchorCtr="0">
              <a:spAutoFit/>
            </a:bodyPr>
            <a:lstStyle/>
            <a:p>
              <a:pPr algn="ctr"/>
              <a:r>
                <a:rPr lang="en-IN" sz="1350" b="1" dirty="0">
                  <a:latin typeface="Helvetica Neue Light"/>
                  <a:ea typeface="Helvetica Neue Light"/>
                  <a:cs typeface="Helvetica Neue Light"/>
                  <a:sym typeface="Helvetica Neue Light"/>
                </a:rPr>
                <a:t>Higher ROI</a:t>
              </a:r>
              <a:endParaRPr sz="105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8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8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8963-02F5-F88C-D8FA-70195D2F0C88}"/>
              </a:ext>
            </a:extLst>
          </p:cNvPr>
          <p:cNvSpPr>
            <a:spLocks noGrp="1"/>
          </p:cNvSpPr>
          <p:nvPr>
            <p:ph type="title"/>
          </p:nvPr>
        </p:nvSpPr>
        <p:spPr/>
        <p:txBody>
          <a:bodyPr/>
          <a:lstStyle/>
          <a:p>
            <a:r>
              <a:rPr lang="en-IN" dirty="0"/>
              <a:t>Agile Testing Pyramid</a:t>
            </a:r>
          </a:p>
        </p:txBody>
      </p:sp>
      <p:sp>
        <p:nvSpPr>
          <p:cNvPr id="4" name="Slide Number Placeholder 3">
            <a:extLst>
              <a:ext uri="{FF2B5EF4-FFF2-40B4-BE49-F238E27FC236}">
                <a16:creationId xmlns:a16="http://schemas.microsoft.com/office/drawing/2014/main" id="{F92776B3-9C86-A2E4-E2F5-6C099283CA0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solidFill>
                  <a:schemeClr val="tx1"/>
                </a:solidFill>
              </a:rPr>
              <a:t>39</a:t>
            </a:fld>
            <a:endParaRPr lang="en">
              <a:solidFill>
                <a:schemeClr val="tx1"/>
              </a:solidFill>
            </a:endParaRPr>
          </a:p>
        </p:txBody>
      </p:sp>
      <p:grpSp>
        <p:nvGrpSpPr>
          <p:cNvPr id="5" name="Google Shape;370;p50">
            <a:extLst>
              <a:ext uri="{FF2B5EF4-FFF2-40B4-BE49-F238E27FC236}">
                <a16:creationId xmlns:a16="http://schemas.microsoft.com/office/drawing/2014/main" id="{F195BD23-4FF1-209B-4FCF-630F0D513D99}"/>
              </a:ext>
            </a:extLst>
          </p:cNvPr>
          <p:cNvGrpSpPr/>
          <p:nvPr/>
        </p:nvGrpSpPr>
        <p:grpSpPr>
          <a:xfrm>
            <a:off x="2267873" y="1111238"/>
            <a:ext cx="3884186" cy="3523745"/>
            <a:chOff x="138430" y="1297804"/>
            <a:chExt cx="5957569" cy="5073786"/>
          </a:xfrm>
        </p:grpSpPr>
        <p:grpSp>
          <p:nvGrpSpPr>
            <p:cNvPr id="6" name="Google Shape;371;p50">
              <a:extLst>
                <a:ext uri="{FF2B5EF4-FFF2-40B4-BE49-F238E27FC236}">
                  <a16:creationId xmlns:a16="http://schemas.microsoft.com/office/drawing/2014/main" id="{A6E1912B-A30A-58D0-9CCC-8998D9D7BD8A}"/>
                </a:ext>
              </a:extLst>
            </p:cNvPr>
            <p:cNvGrpSpPr/>
            <p:nvPr/>
          </p:nvGrpSpPr>
          <p:grpSpPr>
            <a:xfrm>
              <a:off x="138430" y="2399877"/>
              <a:ext cx="5957569" cy="3971713"/>
              <a:chOff x="0" y="0"/>
              <a:chExt cx="5957569" cy="3971713"/>
            </a:xfrm>
          </p:grpSpPr>
          <p:sp>
            <p:nvSpPr>
              <p:cNvPr id="8" name="Google Shape;372;p50">
                <a:extLst>
                  <a:ext uri="{FF2B5EF4-FFF2-40B4-BE49-F238E27FC236}">
                    <a16:creationId xmlns:a16="http://schemas.microsoft.com/office/drawing/2014/main" id="{66821ECD-6BAC-D93F-DD09-74EDDCA360FE}"/>
                  </a:ext>
                </a:extLst>
              </p:cNvPr>
              <p:cNvSpPr/>
              <p:nvPr/>
            </p:nvSpPr>
            <p:spPr>
              <a:xfrm>
                <a:off x="2383027" y="0"/>
                <a:ext cx="1191513" cy="794342"/>
              </a:xfrm>
              <a:prstGeom prst="trapezoid">
                <a:avLst>
                  <a:gd name="adj" fmla="val 75000"/>
                </a:avLst>
              </a:prstGeom>
              <a:solidFill>
                <a:srgbClr val="A5A5A5"/>
              </a:solidFill>
              <a:ln w="25400"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endParaRPr sz="1050" dirty="0"/>
              </a:p>
            </p:txBody>
          </p:sp>
          <p:sp>
            <p:nvSpPr>
              <p:cNvPr id="9" name="Google Shape;373;p50">
                <a:extLst>
                  <a:ext uri="{FF2B5EF4-FFF2-40B4-BE49-F238E27FC236}">
                    <a16:creationId xmlns:a16="http://schemas.microsoft.com/office/drawing/2014/main" id="{90DC8810-7771-472E-9FF1-417B679AE56F}"/>
                  </a:ext>
                </a:extLst>
              </p:cNvPr>
              <p:cNvSpPr txBox="1"/>
              <p:nvPr/>
            </p:nvSpPr>
            <p:spPr>
              <a:xfrm>
                <a:off x="2383027" y="0"/>
                <a:ext cx="1191513" cy="794342"/>
              </a:xfrm>
              <a:prstGeom prst="rect">
                <a:avLst/>
              </a:prstGeom>
              <a:noFill/>
              <a:ln>
                <a:noFill/>
              </a:ln>
            </p:spPr>
            <p:txBody>
              <a:bodyPr spcFirstLastPara="1" wrap="square" lIns="15225" tIns="15225" rIns="15225" bIns="15225" anchor="ctr" anchorCtr="0">
                <a:noAutofit/>
              </a:bodyPr>
              <a:lstStyle/>
              <a:p>
                <a:pPr algn="ctr">
                  <a:lnSpc>
                    <a:spcPct val="90000"/>
                  </a:lnSpc>
                  <a:buSzPts val="1600"/>
                </a:pPr>
                <a:r>
                  <a:rPr lang="en-US" sz="1200" dirty="0">
                    <a:solidFill>
                      <a:schemeClr val="lt1"/>
                    </a:solidFill>
                    <a:latin typeface="Helvetica Neue Light"/>
                    <a:ea typeface="Helvetica Neue Light"/>
                    <a:cs typeface="Helvetica Neue Light"/>
                    <a:sym typeface="Helvetica Neue Light"/>
                  </a:rPr>
                  <a:t>UI </a:t>
                </a:r>
                <a:endParaRPr sz="1050" dirty="0"/>
              </a:p>
              <a:p>
                <a:pPr algn="ctr">
                  <a:lnSpc>
                    <a:spcPct val="90000"/>
                  </a:lnSpc>
                  <a:spcBef>
                    <a:spcPts val="420"/>
                  </a:spcBef>
                  <a:buSzPts val="1600"/>
                </a:pPr>
                <a:r>
                  <a:rPr lang="en-US" sz="1200" dirty="0">
                    <a:solidFill>
                      <a:schemeClr val="lt1"/>
                    </a:solidFill>
                    <a:latin typeface="Helvetica Neue Light"/>
                    <a:ea typeface="Helvetica Neue Light"/>
                    <a:cs typeface="Helvetica Neue Light"/>
                    <a:sym typeface="Helvetica Neue Light"/>
                  </a:rPr>
                  <a:t>Tests</a:t>
                </a:r>
                <a:endParaRPr sz="1050" dirty="0"/>
              </a:p>
            </p:txBody>
          </p:sp>
          <p:sp>
            <p:nvSpPr>
              <p:cNvPr id="10" name="Google Shape;374;p50">
                <a:extLst>
                  <a:ext uri="{FF2B5EF4-FFF2-40B4-BE49-F238E27FC236}">
                    <a16:creationId xmlns:a16="http://schemas.microsoft.com/office/drawing/2014/main" id="{AFA164D7-8B64-076F-D9E5-1BE7D80FD11A}"/>
                  </a:ext>
                </a:extLst>
              </p:cNvPr>
              <p:cNvSpPr/>
              <p:nvPr/>
            </p:nvSpPr>
            <p:spPr>
              <a:xfrm>
                <a:off x="1787271" y="794342"/>
                <a:ext cx="2383027" cy="794342"/>
              </a:xfrm>
              <a:prstGeom prst="trapezoid">
                <a:avLst>
                  <a:gd name="adj" fmla="val 75000"/>
                </a:avLst>
              </a:prstGeom>
              <a:solidFill>
                <a:srgbClr val="A5A5A5"/>
              </a:solidFill>
              <a:ln w="25400"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endParaRPr sz="1050" dirty="0"/>
              </a:p>
            </p:txBody>
          </p:sp>
          <p:sp>
            <p:nvSpPr>
              <p:cNvPr id="11" name="Google Shape;375;p50">
                <a:extLst>
                  <a:ext uri="{FF2B5EF4-FFF2-40B4-BE49-F238E27FC236}">
                    <a16:creationId xmlns:a16="http://schemas.microsoft.com/office/drawing/2014/main" id="{D0A576A6-0845-F7EF-7EA9-246A5A61A2FB}"/>
                  </a:ext>
                </a:extLst>
              </p:cNvPr>
              <p:cNvSpPr txBox="1"/>
              <p:nvPr/>
            </p:nvSpPr>
            <p:spPr>
              <a:xfrm>
                <a:off x="2204300" y="794342"/>
                <a:ext cx="1548968" cy="794342"/>
              </a:xfrm>
              <a:prstGeom prst="rect">
                <a:avLst/>
              </a:prstGeom>
              <a:noFill/>
              <a:ln>
                <a:noFill/>
              </a:ln>
            </p:spPr>
            <p:txBody>
              <a:bodyPr spcFirstLastPara="1" wrap="square" lIns="15225" tIns="15225" rIns="15225" bIns="15225" anchor="ctr" anchorCtr="0">
                <a:noAutofit/>
              </a:bodyPr>
              <a:lstStyle/>
              <a:p>
                <a:pPr algn="ctr">
                  <a:lnSpc>
                    <a:spcPct val="90000"/>
                  </a:lnSpc>
                  <a:buSzPts val="1600"/>
                </a:pPr>
                <a:r>
                  <a:rPr lang="en-US" sz="1200" dirty="0">
                    <a:solidFill>
                      <a:schemeClr val="lt1"/>
                    </a:solidFill>
                    <a:latin typeface="Helvetica Neue Light"/>
                    <a:ea typeface="Helvetica Neue Light"/>
                    <a:cs typeface="Helvetica Neue Light"/>
                    <a:sym typeface="Helvetica Neue Light"/>
                  </a:rPr>
                  <a:t>System Tests</a:t>
                </a:r>
                <a:endParaRPr sz="1050" dirty="0"/>
              </a:p>
            </p:txBody>
          </p:sp>
          <p:sp>
            <p:nvSpPr>
              <p:cNvPr id="12" name="Google Shape;376;p50">
                <a:extLst>
                  <a:ext uri="{FF2B5EF4-FFF2-40B4-BE49-F238E27FC236}">
                    <a16:creationId xmlns:a16="http://schemas.microsoft.com/office/drawing/2014/main" id="{52FEDD53-56C2-199B-1366-8AD709484635}"/>
                  </a:ext>
                </a:extLst>
              </p:cNvPr>
              <p:cNvSpPr/>
              <p:nvPr/>
            </p:nvSpPr>
            <p:spPr>
              <a:xfrm>
                <a:off x="1191514" y="1588685"/>
                <a:ext cx="3574541" cy="794342"/>
              </a:xfrm>
              <a:prstGeom prst="trapezoid">
                <a:avLst>
                  <a:gd name="adj" fmla="val 75000"/>
                </a:avLst>
              </a:prstGeom>
              <a:solidFill>
                <a:srgbClr val="A5A5A5"/>
              </a:solidFill>
              <a:ln w="25400"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endParaRPr sz="1050" dirty="0"/>
              </a:p>
            </p:txBody>
          </p:sp>
          <p:sp>
            <p:nvSpPr>
              <p:cNvPr id="13" name="Google Shape;377;p50">
                <a:extLst>
                  <a:ext uri="{FF2B5EF4-FFF2-40B4-BE49-F238E27FC236}">
                    <a16:creationId xmlns:a16="http://schemas.microsoft.com/office/drawing/2014/main" id="{CE85567B-D87B-7FAF-C620-ED2435549E43}"/>
                  </a:ext>
                </a:extLst>
              </p:cNvPr>
              <p:cNvSpPr txBox="1"/>
              <p:nvPr/>
            </p:nvSpPr>
            <p:spPr>
              <a:xfrm>
                <a:off x="1817058" y="1588685"/>
                <a:ext cx="2323452" cy="794342"/>
              </a:xfrm>
              <a:prstGeom prst="rect">
                <a:avLst/>
              </a:prstGeom>
              <a:noFill/>
              <a:ln>
                <a:noFill/>
              </a:ln>
            </p:spPr>
            <p:txBody>
              <a:bodyPr spcFirstLastPara="1" wrap="square" lIns="15225" tIns="15225" rIns="15225" bIns="15225" anchor="ctr" anchorCtr="0">
                <a:noAutofit/>
              </a:bodyPr>
              <a:lstStyle/>
              <a:p>
                <a:pPr algn="ctr">
                  <a:lnSpc>
                    <a:spcPct val="90000"/>
                  </a:lnSpc>
                  <a:buSzPts val="1600"/>
                </a:pPr>
                <a:r>
                  <a:rPr lang="en-US" sz="1200" dirty="0">
                    <a:solidFill>
                      <a:schemeClr val="lt1"/>
                    </a:solidFill>
                    <a:latin typeface="Helvetica Neue Light"/>
                    <a:ea typeface="Helvetica Neue Light"/>
                    <a:cs typeface="Helvetica Neue Light"/>
                    <a:sym typeface="Helvetica Neue Light"/>
                  </a:rPr>
                  <a:t>Integration Tests</a:t>
                </a:r>
                <a:endParaRPr sz="1050" dirty="0"/>
              </a:p>
            </p:txBody>
          </p:sp>
          <p:sp>
            <p:nvSpPr>
              <p:cNvPr id="14" name="Google Shape;378;p50">
                <a:extLst>
                  <a:ext uri="{FF2B5EF4-FFF2-40B4-BE49-F238E27FC236}">
                    <a16:creationId xmlns:a16="http://schemas.microsoft.com/office/drawing/2014/main" id="{E7DA4D76-989D-7762-B96E-E74505831511}"/>
                  </a:ext>
                </a:extLst>
              </p:cNvPr>
              <p:cNvSpPr/>
              <p:nvPr/>
            </p:nvSpPr>
            <p:spPr>
              <a:xfrm>
                <a:off x="595757" y="2383028"/>
                <a:ext cx="4766055" cy="794342"/>
              </a:xfrm>
              <a:prstGeom prst="trapezoid">
                <a:avLst>
                  <a:gd name="adj" fmla="val 75000"/>
                </a:avLst>
              </a:prstGeom>
              <a:solidFill>
                <a:srgbClr val="A5A5A5"/>
              </a:solidFill>
              <a:ln w="25400"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endParaRPr sz="1050" dirty="0"/>
              </a:p>
            </p:txBody>
          </p:sp>
          <p:sp>
            <p:nvSpPr>
              <p:cNvPr id="15" name="Google Shape;379;p50">
                <a:extLst>
                  <a:ext uri="{FF2B5EF4-FFF2-40B4-BE49-F238E27FC236}">
                    <a16:creationId xmlns:a16="http://schemas.microsoft.com/office/drawing/2014/main" id="{952BA60D-5E7A-ADA6-0F88-BE34002EB3D6}"/>
                  </a:ext>
                </a:extLst>
              </p:cNvPr>
              <p:cNvSpPr txBox="1"/>
              <p:nvPr/>
            </p:nvSpPr>
            <p:spPr>
              <a:xfrm>
                <a:off x="1429816" y="2383028"/>
                <a:ext cx="3097936" cy="794342"/>
              </a:xfrm>
              <a:prstGeom prst="rect">
                <a:avLst/>
              </a:prstGeom>
              <a:noFill/>
              <a:ln>
                <a:noFill/>
              </a:ln>
            </p:spPr>
            <p:txBody>
              <a:bodyPr spcFirstLastPara="1" wrap="square" lIns="15225" tIns="15225" rIns="15225" bIns="15225" anchor="ctr" anchorCtr="0">
                <a:noAutofit/>
              </a:bodyPr>
              <a:lstStyle/>
              <a:p>
                <a:pPr algn="ctr">
                  <a:lnSpc>
                    <a:spcPct val="90000"/>
                  </a:lnSpc>
                  <a:buSzPts val="1600"/>
                </a:pPr>
                <a:r>
                  <a:rPr lang="en-US" sz="1200" dirty="0">
                    <a:solidFill>
                      <a:schemeClr val="lt1"/>
                    </a:solidFill>
                    <a:latin typeface="Helvetica Neue Light"/>
                    <a:ea typeface="Helvetica Neue Light"/>
                    <a:cs typeface="Helvetica Neue Light"/>
                    <a:sym typeface="Helvetica Neue Light"/>
                  </a:rPr>
                  <a:t>Component Tests</a:t>
                </a:r>
                <a:endParaRPr sz="1050" dirty="0"/>
              </a:p>
            </p:txBody>
          </p:sp>
          <p:sp>
            <p:nvSpPr>
              <p:cNvPr id="16" name="Google Shape;380;p50">
                <a:extLst>
                  <a:ext uri="{FF2B5EF4-FFF2-40B4-BE49-F238E27FC236}">
                    <a16:creationId xmlns:a16="http://schemas.microsoft.com/office/drawing/2014/main" id="{F4B9BC8E-2D4D-32BF-2C57-49146401B515}"/>
                  </a:ext>
                </a:extLst>
              </p:cNvPr>
              <p:cNvSpPr/>
              <p:nvPr/>
            </p:nvSpPr>
            <p:spPr>
              <a:xfrm>
                <a:off x="0" y="3177371"/>
                <a:ext cx="5957569" cy="794342"/>
              </a:xfrm>
              <a:prstGeom prst="trapezoid">
                <a:avLst>
                  <a:gd name="adj" fmla="val 75000"/>
                </a:avLst>
              </a:prstGeom>
              <a:solidFill>
                <a:srgbClr val="A5A5A5"/>
              </a:solidFill>
              <a:ln w="25400"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endParaRPr sz="1050" dirty="0"/>
              </a:p>
            </p:txBody>
          </p:sp>
          <p:sp>
            <p:nvSpPr>
              <p:cNvPr id="17" name="Google Shape;381;p50">
                <a:extLst>
                  <a:ext uri="{FF2B5EF4-FFF2-40B4-BE49-F238E27FC236}">
                    <a16:creationId xmlns:a16="http://schemas.microsoft.com/office/drawing/2014/main" id="{795D9645-3C24-E011-AC12-5DB6FA1AF51B}"/>
                  </a:ext>
                </a:extLst>
              </p:cNvPr>
              <p:cNvSpPr txBox="1"/>
              <p:nvPr/>
            </p:nvSpPr>
            <p:spPr>
              <a:xfrm>
                <a:off x="1042574" y="3177371"/>
                <a:ext cx="3872420" cy="794342"/>
              </a:xfrm>
              <a:prstGeom prst="rect">
                <a:avLst/>
              </a:prstGeom>
              <a:noFill/>
              <a:ln>
                <a:noFill/>
              </a:ln>
            </p:spPr>
            <p:txBody>
              <a:bodyPr spcFirstLastPara="1" wrap="square" lIns="15225" tIns="15225" rIns="15225" bIns="15225" anchor="ctr" anchorCtr="0">
                <a:noAutofit/>
              </a:bodyPr>
              <a:lstStyle/>
              <a:p>
                <a:pPr algn="ctr">
                  <a:lnSpc>
                    <a:spcPct val="90000"/>
                  </a:lnSpc>
                  <a:buSzPts val="1600"/>
                </a:pPr>
                <a:r>
                  <a:rPr lang="en-US" sz="1200" dirty="0">
                    <a:solidFill>
                      <a:schemeClr val="lt1"/>
                    </a:solidFill>
                    <a:latin typeface="Helvetica Neue Light"/>
                    <a:ea typeface="Helvetica Neue Light"/>
                    <a:cs typeface="Helvetica Neue Light"/>
                    <a:sym typeface="Helvetica Neue Light"/>
                  </a:rPr>
                  <a:t>Unit Tests</a:t>
                </a:r>
                <a:endParaRPr sz="1050" dirty="0"/>
              </a:p>
            </p:txBody>
          </p:sp>
        </p:grpSp>
        <p:sp>
          <p:nvSpPr>
            <p:cNvPr id="7" name="Google Shape;382;p50">
              <a:extLst>
                <a:ext uri="{FF2B5EF4-FFF2-40B4-BE49-F238E27FC236}">
                  <a16:creationId xmlns:a16="http://schemas.microsoft.com/office/drawing/2014/main" id="{B211744E-0862-D0FE-38D1-536F1AE8FA8C}"/>
                </a:ext>
              </a:extLst>
            </p:cNvPr>
            <p:cNvSpPr/>
            <p:nvPr/>
          </p:nvSpPr>
          <p:spPr>
            <a:xfrm>
              <a:off x="2400300" y="1297804"/>
              <a:ext cx="1760220" cy="1173480"/>
            </a:xfrm>
            <a:prstGeom prst="cloud">
              <a:avLst/>
            </a:prstGeom>
            <a:solidFill>
              <a:srgbClr val="A5A5A5"/>
            </a:solidFill>
            <a:ln>
              <a:noFill/>
            </a:ln>
          </p:spPr>
          <p:txBody>
            <a:bodyPr spcFirstLastPara="1" wrap="square" lIns="68569" tIns="34275" rIns="68569" bIns="34275" anchor="ctr" anchorCtr="0">
              <a:noAutofit/>
            </a:bodyPr>
            <a:lstStyle/>
            <a:p>
              <a:pPr algn="ctr"/>
              <a:r>
                <a:rPr lang="en-US" sz="1050" dirty="0">
                  <a:solidFill>
                    <a:schemeClr val="lt1"/>
                  </a:solidFill>
                </a:rPr>
                <a:t>Manual Tests</a:t>
              </a:r>
              <a:endParaRPr sz="1050" dirty="0"/>
            </a:p>
          </p:txBody>
        </p:sp>
      </p:grpSp>
      <p:cxnSp>
        <p:nvCxnSpPr>
          <p:cNvPr id="18" name="Google Shape;894;p75">
            <a:extLst>
              <a:ext uri="{FF2B5EF4-FFF2-40B4-BE49-F238E27FC236}">
                <a16:creationId xmlns:a16="http://schemas.microsoft.com/office/drawing/2014/main" id="{BC653D56-C84E-092B-C785-87239CA82925}"/>
              </a:ext>
            </a:extLst>
          </p:cNvPr>
          <p:cNvCxnSpPr>
            <a:cxnSpLocks/>
          </p:cNvCxnSpPr>
          <p:nvPr/>
        </p:nvCxnSpPr>
        <p:spPr>
          <a:xfrm flipV="1">
            <a:off x="1645919" y="1609344"/>
            <a:ext cx="0" cy="2728250"/>
          </a:xfrm>
          <a:prstGeom prst="straightConnector1">
            <a:avLst/>
          </a:prstGeom>
          <a:noFill/>
          <a:ln w="57150" cap="flat" cmpd="sng">
            <a:solidFill>
              <a:srgbClr val="3E6EC2"/>
            </a:solidFill>
            <a:prstDash val="solid"/>
            <a:round/>
            <a:headEnd type="none" w="sm" len="sm"/>
            <a:tailEnd type="triangle" w="med" len="med"/>
          </a:ln>
        </p:spPr>
      </p:cxnSp>
      <p:sp>
        <p:nvSpPr>
          <p:cNvPr id="19" name="Google Shape;895;p75">
            <a:extLst>
              <a:ext uri="{FF2B5EF4-FFF2-40B4-BE49-F238E27FC236}">
                <a16:creationId xmlns:a16="http://schemas.microsoft.com/office/drawing/2014/main" id="{1F837026-C8CF-0808-A680-C94FF488F5F4}"/>
              </a:ext>
            </a:extLst>
          </p:cNvPr>
          <p:cNvSpPr txBox="1"/>
          <p:nvPr/>
        </p:nvSpPr>
        <p:spPr>
          <a:xfrm>
            <a:off x="843533" y="4401132"/>
            <a:ext cx="1623059" cy="3077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IN" b="1" i="0" u="none" strike="noStrike" cap="none" dirty="0">
                <a:solidFill>
                  <a:srgbClr val="000000"/>
                </a:solidFill>
                <a:latin typeface="+mn-lt"/>
                <a:ea typeface="Proxima Nova"/>
                <a:cs typeface="Arial" panose="020B0604020202020204" pitchFamily="34" charset="0"/>
                <a:sym typeface="Proxima Nova"/>
              </a:rPr>
              <a:t>Cost / Effort</a:t>
            </a:r>
            <a:endParaRPr dirty="0">
              <a:latin typeface="+mn-lt"/>
              <a:ea typeface="Proxima Nova"/>
              <a:cs typeface="Arial" panose="020B0604020202020204" pitchFamily="34" charset="0"/>
              <a:sym typeface="Proxima Nova"/>
            </a:endParaRPr>
          </a:p>
        </p:txBody>
      </p:sp>
      <p:cxnSp>
        <p:nvCxnSpPr>
          <p:cNvPr id="20" name="Google Shape;896;p75">
            <a:extLst>
              <a:ext uri="{FF2B5EF4-FFF2-40B4-BE49-F238E27FC236}">
                <a16:creationId xmlns:a16="http://schemas.microsoft.com/office/drawing/2014/main" id="{1802C075-ACB7-5772-1513-0E8945A07295}"/>
              </a:ext>
            </a:extLst>
          </p:cNvPr>
          <p:cNvCxnSpPr>
            <a:cxnSpLocks/>
          </p:cNvCxnSpPr>
          <p:nvPr/>
        </p:nvCxnSpPr>
        <p:spPr>
          <a:xfrm>
            <a:off x="6593618" y="1543253"/>
            <a:ext cx="0" cy="2873433"/>
          </a:xfrm>
          <a:prstGeom prst="straightConnector1">
            <a:avLst/>
          </a:prstGeom>
          <a:noFill/>
          <a:ln w="57150" cap="flat" cmpd="sng">
            <a:solidFill>
              <a:srgbClr val="3E6EC2"/>
            </a:solidFill>
            <a:prstDash val="solid"/>
            <a:round/>
            <a:headEnd type="none" w="sm" len="sm"/>
            <a:tailEnd type="triangle" w="med" len="med"/>
          </a:ln>
        </p:spPr>
      </p:cxnSp>
      <p:sp>
        <p:nvSpPr>
          <p:cNvPr id="21" name="Google Shape;897;p75">
            <a:extLst>
              <a:ext uri="{FF2B5EF4-FFF2-40B4-BE49-F238E27FC236}">
                <a16:creationId xmlns:a16="http://schemas.microsoft.com/office/drawing/2014/main" id="{581999C9-50AF-F213-2887-97A975138429}"/>
              </a:ext>
            </a:extLst>
          </p:cNvPr>
          <p:cNvSpPr txBox="1"/>
          <p:nvPr/>
        </p:nvSpPr>
        <p:spPr>
          <a:xfrm>
            <a:off x="5763641" y="1145376"/>
            <a:ext cx="1623059" cy="3077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IN" b="1" i="0" u="none" strike="noStrike" cap="none" dirty="0">
                <a:solidFill>
                  <a:srgbClr val="000000"/>
                </a:solidFill>
                <a:latin typeface="Arial"/>
                <a:ea typeface="Arial"/>
                <a:cs typeface="Arial"/>
                <a:sym typeface="Arial"/>
              </a:rPr>
              <a:t>Time</a:t>
            </a:r>
            <a:endParaRPr dirty="0"/>
          </a:p>
        </p:txBody>
      </p:sp>
      <p:cxnSp>
        <p:nvCxnSpPr>
          <p:cNvPr id="27" name="Google Shape;894;p75">
            <a:extLst>
              <a:ext uri="{FF2B5EF4-FFF2-40B4-BE49-F238E27FC236}">
                <a16:creationId xmlns:a16="http://schemas.microsoft.com/office/drawing/2014/main" id="{6C48BEF4-83D8-C22D-AB67-AFEE962BC06C}"/>
              </a:ext>
            </a:extLst>
          </p:cNvPr>
          <p:cNvCxnSpPr>
            <a:cxnSpLocks/>
          </p:cNvCxnSpPr>
          <p:nvPr/>
        </p:nvCxnSpPr>
        <p:spPr>
          <a:xfrm flipV="1">
            <a:off x="7524574" y="1542193"/>
            <a:ext cx="0" cy="2746410"/>
          </a:xfrm>
          <a:prstGeom prst="straightConnector1">
            <a:avLst/>
          </a:prstGeom>
          <a:noFill/>
          <a:ln w="57150" cap="flat" cmpd="sng">
            <a:solidFill>
              <a:schemeClr val="accent6">
                <a:lumMod val="75000"/>
              </a:schemeClr>
            </a:solidFill>
            <a:prstDash val="solid"/>
            <a:round/>
            <a:headEnd type="none" w="sm" len="sm"/>
            <a:tailEnd type="triangle" w="med" len="med"/>
          </a:ln>
        </p:spPr>
      </p:cxnSp>
      <p:sp>
        <p:nvSpPr>
          <p:cNvPr id="28" name="Google Shape;895;p75">
            <a:extLst>
              <a:ext uri="{FF2B5EF4-FFF2-40B4-BE49-F238E27FC236}">
                <a16:creationId xmlns:a16="http://schemas.microsoft.com/office/drawing/2014/main" id="{752464A3-A2B9-4217-C4D2-2E9580C1E8D9}"/>
              </a:ext>
            </a:extLst>
          </p:cNvPr>
          <p:cNvSpPr txBox="1"/>
          <p:nvPr/>
        </p:nvSpPr>
        <p:spPr>
          <a:xfrm>
            <a:off x="6764869" y="4442115"/>
            <a:ext cx="1623059" cy="3077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IN" b="1" i="0" u="none" strike="noStrike" cap="none" dirty="0">
                <a:solidFill>
                  <a:srgbClr val="000000"/>
                </a:solidFill>
                <a:latin typeface="+mn-lt"/>
                <a:ea typeface="Proxima Nova"/>
                <a:cs typeface="Arial" panose="020B0604020202020204" pitchFamily="34" charset="0"/>
                <a:sym typeface="Proxima Nova"/>
              </a:rPr>
              <a:t>Solid</a:t>
            </a:r>
            <a:endParaRPr dirty="0">
              <a:latin typeface="+mn-lt"/>
              <a:ea typeface="Proxima Nova"/>
              <a:cs typeface="Arial" panose="020B0604020202020204" pitchFamily="34" charset="0"/>
              <a:sym typeface="Proxima Nova"/>
            </a:endParaRPr>
          </a:p>
        </p:txBody>
      </p:sp>
      <p:sp>
        <p:nvSpPr>
          <p:cNvPr id="29" name="Google Shape;895;p75">
            <a:extLst>
              <a:ext uri="{FF2B5EF4-FFF2-40B4-BE49-F238E27FC236}">
                <a16:creationId xmlns:a16="http://schemas.microsoft.com/office/drawing/2014/main" id="{15365F68-C16B-D595-19AA-17FD5EFF6F88}"/>
              </a:ext>
            </a:extLst>
          </p:cNvPr>
          <p:cNvSpPr txBox="1"/>
          <p:nvPr/>
        </p:nvSpPr>
        <p:spPr>
          <a:xfrm>
            <a:off x="6713045" y="1149670"/>
            <a:ext cx="1623059" cy="3077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IN" b="1" i="0" u="none" strike="noStrike" cap="none" dirty="0">
                <a:solidFill>
                  <a:srgbClr val="000000"/>
                </a:solidFill>
                <a:latin typeface="+mn-lt"/>
                <a:ea typeface="Proxima Nova"/>
                <a:cs typeface="Arial" panose="020B0604020202020204" pitchFamily="34" charset="0"/>
                <a:sym typeface="Proxima Nova"/>
              </a:rPr>
              <a:t>Brittle</a:t>
            </a:r>
            <a:endParaRPr dirty="0">
              <a:latin typeface="+mn-lt"/>
              <a:ea typeface="Proxima Nova"/>
              <a:cs typeface="Arial" panose="020B0604020202020204" pitchFamily="34" charset="0"/>
              <a:sym typeface="Proxima Nova"/>
            </a:endParaRPr>
          </a:p>
        </p:txBody>
      </p:sp>
      <p:cxnSp>
        <p:nvCxnSpPr>
          <p:cNvPr id="31" name="Google Shape;894;p75">
            <a:extLst>
              <a:ext uri="{FF2B5EF4-FFF2-40B4-BE49-F238E27FC236}">
                <a16:creationId xmlns:a16="http://schemas.microsoft.com/office/drawing/2014/main" id="{3F578A46-E8D8-EC56-778D-248154172FE7}"/>
              </a:ext>
            </a:extLst>
          </p:cNvPr>
          <p:cNvCxnSpPr>
            <a:cxnSpLocks/>
          </p:cNvCxnSpPr>
          <p:nvPr/>
        </p:nvCxnSpPr>
        <p:spPr>
          <a:xfrm flipH="1" flipV="1">
            <a:off x="613700" y="1609344"/>
            <a:ext cx="546" cy="2679259"/>
          </a:xfrm>
          <a:prstGeom prst="straightConnector1">
            <a:avLst/>
          </a:prstGeom>
          <a:noFill/>
          <a:ln w="57150" cap="flat" cmpd="sng">
            <a:solidFill>
              <a:schemeClr val="accent6">
                <a:lumMod val="75000"/>
              </a:schemeClr>
            </a:solidFill>
            <a:prstDash val="solid"/>
            <a:round/>
            <a:headEnd type="none" w="sm" len="sm"/>
            <a:tailEnd type="triangle" w="med" len="med"/>
          </a:ln>
        </p:spPr>
      </p:cxnSp>
      <p:sp>
        <p:nvSpPr>
          <p:cNvPr id="32" name="Google Shape;895;p75">
            <a:extLst>
              <a:ext uri="{FF2B5EF4-FFF2-40B4-BE49-F238E27FC236}">
                <a16:creationId xmlns:a16="http://schemas.microsoft.com/office/drawing/2014/main" id="{CC1E15A2-6CB6-2E04-DFEF-1CB6F1C4F4FD}"/>
              </a:ext>
            </a:extLst>
          </p:cNvPr>
          <p:cNvSpPr txBox="1"/>
          <p:nvPr/>
        </p:nvSpPr>
        <p:spPr>
          <a:xfrm>
            <a:off x="-123364" y="4447810"/>
            <a:ext cx="1623059" cy="3077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IN" b="1" i="0" u="none" strike="noStrike" cap="none" dirty="0">
                <a:solidFill>
                  <a:srgbClr val="000000"/>
                </a:solidFill>
                <a:latin typeface="+mn-lt"/>
                <a:ea typeface="Proxima Nova"/>
                <a:cs typeface="Arial" panose="020B0604020202020204" pitchFamily="34" charset="0"/>
                <a:sym typeface="Proxima Nova"/>
              </a:rPr>
              <a:t>Faster</a:t>
            </a:r>
            <a:endParaRPr dirty="0">
              <a:latin typeface="+mn-lt"/>
              <a:ea typeface="Proxima Nova"/>
              <a:cs typeface="Arial" panose="020B0604020202020204" pitchFamily="34" charset="0"/>
              <a:sym typeface="Proxima Nova"/>
            </a:endParaRPr>
          </a:p>
        </p:txBody>
      </p:sp>
      <p:sp>
        <p:nvSpPr>
          <p:cNvPr id="33" name="Google Shape;895;p75">
            <a:extLst>
              <a:ext uri="{FF2B5EF4-FFF2-40B4-BE49-F238E27FC236}">
                <a16:creationId xmlns:a16="http://schemas.microsoft.com/office/drawing/2014/main" id="{2CA91062-C119-2E4D-1578-75C07B1D698D}"/>
              </a:ext>
            </a:extLst>
          </p:cNvPr>
          <p:cNvSpPr txBox="1"/>
          <p:nvPr/>
        </p:nvSpPr>
        <p:spPr>
          <a:xfrm>
            <a:off x="-197830" y="1254930"/>
            <a:ext cx="1623059" cy="3077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IN" b="1" i="0" u="none" strike="noStrike" cap="none" dirty="0">
                <a:solidFill>
                  <a:srgbClr val="000000"/>
                </a:solidFill>
                <a:latin typeface="+mn-lt"/>
                <a:ea typeface="Proxima Nova"/>
                <a:cs typeface="Arial" panose="020B0604020202020204" pitchFamily="34" charset="0"/>
                <a:sym typeface="Proxima Nova"/>
              </a:rPr>
              <a:t>Slower</a:t>
            </a:r>
            <a:endParaRPr dirty="0">
              <a:latin typeface="+mn-lt"/>
              <a:ea typeface="Proxima Nova"/>
              <a:cs typeface="Arial" panose="020B0604020202020204" pitchFamily="34" charset="0"/>
              <a:sym typeface="Proxima Nova"/>
            </a:endParaRPr>
          </a:p>
        </p:txBody>
      </p:sp>
    </p:spTree>
    <p:extLst>
      <p:ext uri="{BB962C8B-B14F-4D97-AF65-F5344CB8AC3E}">
        <p14:creationId xmlns:p14="http://schemas.microsoft.com/office/powerpoint/2010/main" val="4204954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1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How We’re Going to Work Together</a:t>
            </a:r>
            <a:endParaRPr dirty="0">
              <a:solidFill>
                <a:schemeClr val="dk1"/>
              </a:solidFill>
            </a:endParaRPr>
          </a:p>
        </p:txBody>
      </p:sp>
      <p:sp>
        <p:nvSpPr>
          <p:cNvPr id="351" name="Google Shape;351;p11"/>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lides and words to highlight key concepts</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emos to bring those concepts “to life”</a:t>
            </a: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Discussion groups and lab work (which will take place in sandboxes provided via AWS </a:t>
            </a:r>
            <a:r>
              <a:rPr lang="en-US" sz="1500" b="0" i="0" u="none" strike="noStrike" cap="none" dirty="0" err="1">
                <a:solidFill>
                  <a:srgbClr val="404040"/>
                </a:solidFill>
                <a:latin typeface="Arial"/>
                <a:ea typeface="Arial"/>
                <a:cs typeface="Arial"/>
                <a:sym typeface="Arial"/>
              </a:rPr>
              <a:t>WorkSpaces</a:t>
            </a:r>
            <a:r>
              <a:rPr lang="en-US" sz="1500" b="0" i="0" u="none" strike="noStrike" cap="none" dirty="0">
                <a:solidFill>
                  <a:srgbClr val="404040"/>
                </a:solidFill>
                <a:latin typeface="Arial"/>
                <a:ea typeface="Arial"/>
                <a:cs typeface="Arial"/>
                <a:sym typeface="Arial"/>
              </a:rPr>
              <a:t>) for hands-on reinforcement</a:t>
            </a:r>
            <a:endParaRPr sz="1500" b="0" i="0" u="none" strike="noStrike" cap="none" dirty="0">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NOTE: I welcome being interrupted – if you need more info, or clarification, or anything else, just break in and ask. I am here to help you.</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1741366F-0719-D9EE-1717-926CA7F71020}"/>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sp>
        <p:nvSpPr>
          <p:cNvPr id="369" name="Google Shape;369;p50"/>
          <p:cNvSpPr txBox="1">
            <a:spLocks noGrp="1"/>
          </p:cNvSpPr>
          <p:nvPr>
            <p:ph type="title"/>
          </p:nvPr>
        </p:nvSpPr>
        <p:spPr>
          <a:xfrm>
            <a:off x="613700" y="659244"/>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1800"/>
            </a:pPr>
            <a:r>
              <a:rPr lang="en-US" dirty="0">
                <a:latin typeface="Helvetica Neue"/>
                <a:ea typeface="Helvetica Neue"/>
                <a:cs typeface="Helvetica Neue"/>
                <a:sym typeface="Helvetica Neue"/>
              </a:rPr>
              <a:t>Unit Testing</a:t>
            </a:r>
            <a:endParaRPr dirty="0">
              <a:latin typeface="Helvetica Neue"/>
              <a:ea typeface="Helvetica Neue"/>
              <a:cs typeface="Helvetica Neue"/>
              <a:sym typeface="Helvetica Neue"/>
            </a:endParaRPr>
          </a:p>
        </p:txBody>
      </p:sp>
      <p:sp>
        <p:nvSpPr>
          <p:cNvPr id="383" name="Google Shape;383;p50"/>
          <p:cNvSpPr txBox="1"/>
          <p:nvPr/>
        </p:nvSpPr>
        <p:spPr>
          <a:xfrm>
            <a:off x="5231198" y="1034719"/>
            <a:ext cx="3783600" cy="3393206"/>
          </a:xfrm>
          <a:prstGeom prst="rect">
            <a:avLst/>
          </a:prstGeom>
          <a:noFill/>
          <a:ln>
            <a:noFill/>
          </a:ln>
        </p:spPr>
        <p:txBody>
          <a:bodyPr spcFirstLastPara="1" wrap="square" lIns="68569" tIns="34275" rIns="68569" bIns="34275" anchor="t" anchorCtr="0">
            <a:spAutoFit/>
          </a:bodyPr>
          <a:lstStyle/>
          <a:p>
            <a:pPr marL="342900" indent="-247650">
              <a:lnSpc>
                <a:spcPct val="150000"/>
              </a:lnSpc>
              <a:buSzPts val="1600"/>
              <a:buFont typeface="Proxima Nova"/>
              <a:buChar char="●"/>
            </a:pPr>
            <a:r>
              <a:rPr lang="en-US" sz="1200" dirty="0">
                <a:latin typeface="+mn-lt"/>
                <a:ea typeface="Proxima Nova"/>
                <a:cs typeface="Arial" panose="020B0604020202020204" pitchFamily="34" charset="0"/>
                <a:sym typeface="Proxima Nova"/>
              </a:rPr>
              <a:t>Usually written by developers</a:t>
            </a:r>
            <a:endParaRPr sz="1200" dirty="0">
              <a:latin typeface="+mn-lt"/>
              <a:ea typeface="Proxima Nova"/>
              <a:cs typeface="Arial" panose="020B0604020202020204" pitchFamily="34" charset="0"/>
              <a:sym typeface="Proxima Nova"/>
            </a:endParaRPr>
          </a:p>
          <a:p>
            <a:pPr marL="342900" indent="-247650">
              <a:lnSpc>
                <a:spcPct val="150000"/>
              </a:lnSpc>
              <a:buSzPts val="1600"/>
              <a:buFont typeface="Proxima Nova"/>
              <a:buChar char="●"/>
            </a:pPr>
            <a:r>
              <a:rPr lang="en-US" sz="1200" dirty="0">
                <a:latin typeface="+mn-lt"/>
                <a:ea typeface="Proxima Nova"/>
                <a:cs typeface="Arial" panose="020B0604020202020204" pitchFamily="34" charset="0"/>
                <a:sym typeface="Proxima Nova"/>
              </a:rPr>
              <a:t>Uses Assertions</a:t>
            </a:r>
            <a:endParaRPr sz="1200" dirty="0">
              <a:latin typeface="+mn-lt"/>
              <a:ea typeface="Proxima Nova"/>
              <a:cs typeface="Arial" panose="020B0604020202020204" pitchFamily="34" charset="0"/>
              <a:sym typeface="Proxima Nova"/>
            </a:endParaRPr>
          </a:p>
          <a:p>
            <a:pPr marL="342900" indent="-247650">
              <a:lnSpc>
                <a:spcPct val="150000"/>
              </a:lnSpc>
              <a:buSzPts val="1600"/>
              <a:buFont typeface="Proxima Nova"/>
              <a:buChar char="●"/>
            </a:pPr>
            <a:r>
              <a:rPr lang="en-US" sz="1200" dirty="0">
                <a:latin typeface="+mn-lt"/>
                <a:ea typeface="Proxima Nova"/>
                <a:cs typeface="Arial" panose="020B0604020202020204" pitchFamily="34" charset="0"/>
                <a:sym typeface="Proxima Nova"/>
              </a:rPr>
              <a:t>Testing smallest part of the system in isolation</a:t>
            </a:r>
            <a:endParaRPr sz="1200" dirty="0">
              <a:latin typeface="+mn-lt"/>
              <a:ea typeface="Proxima Nova"/>
              <a:cs typeface="Arial" panose="020B0604020202020204" pitchFamily="34" charset="0"/>
              <a:sym typeface="Proxima Nova"/>
            </a:endParaRPr>
          </a:p>
          <a:p>
            <a:pPr marL="342900" indent="-247650">
              <a:lnSpc>
                <a:spcPct val="150000"/>
              </a:lnSpc>
              <a:buSzPts val="1600"/>
              <a:buFont typeface="Proxima Nova"/>
              <a:buChar char="●"/>
            </a:pPr>
            <a:r>
              <a:rPr lang="en-US" sz="1200" dirty="0">
                <a:latin typeface="+mn-lt"/>
                <a:ea typeface="Proxima Nova"/>
                <a:cs typeface="Arial" panose="020B0604020202020204" pitchFamily="34" charset="0"/>
                <a:sym typeface="Proxima Nova"/>
              </a:rPr>
              <a:t>Best Performance – execute early, often and within few seconds</a:t>
            </a:r>
            <a:endParaRPr sz="1200" dirty="0">
              <a:latin typeface="+mn-lt"/>
              <a:ea typeface="Proxima Nova"/>
              <a:cs typeface="Arial" panose="020B0604020202020204" pitchFamily="34" charset="0"/>
              <a:sym typeface="Proxima Nova"/>
            </a:endParaRPr>
          </a:p>
          <a:p>
            <a:pPr marL="342900" indent="-247650">
              <a:lnSpc>
                <a:spcPct val="150000"/>
              </a:lnSpc>
              <a:buSzPts val="1600"/>
              <a:buFont typeface="Proxima Nova"/>
              <a:buChar char="●"/>
            </a:pPr>
            <a:r>
              <a:rPr lang="en-US" sz="1200" dirty="0">
                <a:latin typeface="+mn-lt"/>
                <a:ea typeface="Proxima Nova"/>
                <a:cs typeface="Arial" panose="020B0604020202020204" pitchFamily="34" charset="0"/>
                <a:sym typeface="Proxima Nova"/>
              </a:rPr>
              <a:t>Smallest scope - easier to locate and understand errors</a:t>
            </a:r>
            <a:endParaRPr sz="1200" dirty="0">
              <a:latin typeface="+mn-lt"/>
              <a:ea typeface="Proxima Nova"/>
              <a:cs typeface="Arial" panose="020B0604020202020204" pitchFamily="34" charset="0"/>
              <a:sym typeface="Proxima Nova"/>
            </a:endParaRPr>
          </a:p>
          <a:p>
            <a:pPr marL="342900" indent="-247650">
              <a:lnSpc>
                <a:spcPct val="150000"/>
              </a:lnSpc>
              <a:buSzPts val="1600"/>
              <a:buFont typeface="Proxima Nova"/>
              <a:buChar char="●"/>
            </a:pPr>
            <a:r>
              <a:rPr lang="en-US" sz="1200" dirty="0">
                <a:latin typeface="+mn-lt"/>
                <a:ea typeface="Proxima Nova"/>
                <a:cs typeface="Arial" panose="020B0604020202020204" pitchFamily="34" charset="0"/>
                <a:sym typeface="Proxima Nova"/>
              </a:rPr>
              <a:t>Frequency – Every code check-in or pull request</a:t>
            </a:r>
            <a:endParaRPr sz="1200" dirty="0">
              <a:latin typeface="+mn-lt"/>
              <a:ea typeface="Proxima Nova"/>
              <a:cs typeface="Arial" panose="020B0604020202020204" pitchFamily="34" charset="0"/>
              <a:sym typeface="Proxima Nova"/>
            </a:endParaRPr>
          </a:p>
          <a:p>
            <a:pPr marL="342900" indent="-247650">
              <a:lnSpc>
                <a:spcPct val="150000"/>
              </a:lnSpc>
              <a:buSzPts val="1600"/>
              <a:buFont typeface="Proxima Nova"/>
              <a:buChar char="●"/>
            </a:pPr>
            <a:r>
              <a:rPr lang="en-US" sz="1200" dirty="0">
                <a:latin typeface="+mn-lt"/>
                <a:ea typeface="Proxima Nova"/>
                <a:cs typeface="Arial" panose="020B0604020202020204" pitchFamily="34" charset="0"/>
                <a:sym typeface="Proxima Nova"/>
              </a:rPr>
              <a:t>Use of test doubles to replace dependencies – dummies, stubs, spikes, mocks</a:t>
            </a:r>
            <a:endParaRPr sz="1200" dirty="0">
              <a:latin typeface="+mn-lt"/>
              <a:ea typeface="Proxima Nova"/>
              <a:cs typeface="Arial" panose="020B0604020202020204" pitchFamily="34" charset="0"/>
              <a:sym typeface="Proxima Nova"/>
            </a:endParaRPr>
          </a:p>
          <a:p>
            <a:pPr marL="342900" indent="-247650">
              <a:lnSpc>
                <a:spcPct val="150000"/>
              </a:lnSpc>
              <a:buSzPts val="1600"/>
              <a:buFont typeface="Proxima Nova"/>
              <a:buChar char="●"/>
            </a:pPr>
            <a:r>
              <a:rPr lang="en-US" sz="1200" dirty="0">
                <a:latin typeface="+mn-lt"/>
                <a:ea typeface="Proxima Nova"/>
                <a:cs typeface="Arial" panose="020B0604020202020204" pitchFamily="34" charset="0"/>
                <a:sym typeface="Proxima Nova"/>
              </a:rPr>
              <a:t>Increases confidence in changing/maintaining code</a:t>
            </a:r>
            <a:endParaRPr sz="1200" dirty="0">
              <a:latin typeface="+mn-lt"/>
              <a:ea typeface="Proxima Nova"/>
              <a:cs typeface="Arial" panose="020B0604020202020204" pitchFamily="34" charset="0"/>
              <a:sym typeface="Proxima Nova"/>
            </a:endParaRPr>
          </a:p>
        </p:txBody>
      </p:sp>
      <p:sp>
        <p:nvSpPr>
          <p:cNvPr id="391" name="Google Shape;391;p50"/>
          <p:cNvSpPr txBox="1">
            <a:spLocks noGrp="1"/>
          </p:cNvSpPr>
          <p:nvPr>
            <p:ph type="sldNum" idx="12"/>
          </p:nvPr>
        </p:nvSpPr>
        <p:spPr>
          <a:xfrm>
            <a:off x="8556784" y="4749851"/>
            <a:ext cx="548775" cy="393525"/>
          </a:xfrm>
          <a:prstGeom prst="rect">
            <a:avLst/>
          </a:prstGeom>
        </p:spPr>
        <p:txBody>
          <a:bodyPr spcFirstLastPara="1" wrap="square" lIns="91425" tIns="91425" rIns="91425" bIns="91425" anchor="t" anchorCtr="0">
            <a:noAutofit/>
          </a:bodyPr>
          <a:lstStyle/>
          <a:p>
            <a:pPr>
              <a:buSzPts val="1700"/>
            </a:pPr>
            <a:fld id="{00000000-1234-1234-1234-123412341234}" type="slidenum">
              <a:rPr lang="en-US">
                <a:solidFill>
                  <a:srgbClr val="000000"/>
                </a:solidFill>
              </a:rPr>
              <a:pPr>
                <a:buSzPts val="1700"/>
              </a:pPr>
              <a:t>40</a:t>
            </a:fld>
            <a:endParaRPr dirty="0"/>
          </a:p>
        </p:txBody>
      </p:sp>
      <p:sp>
        <p:nvSpPr>
          <p:cNvPr id="5" name="Arrow: Right 4">
            <a:extLst>
              <a:ext uri="{FF2B5EF4-FFF2-40B4-BE49-F238E27FC236}">
                <a16:creationId xmlns:a16="http://schemas.microsoft.com/office/drawing/2014/main" id="{64DD846F-CA5B-A40A-9679-09CF1A957481}"/>
              </a:ext>
            </a:extLst>
          </p:cNvPr>
          <p:cNvSpPr/>
          <p:nvPr/>
        </p:nvSpPr>
        <p:spPr>
          <a:xfrm>
            <a:off x="153828" y="4493114"/>
            <a:ext cx="506742" cy="25100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
            <a:extLst>
              <a:ext uri="{FF2B5EF4-FFF2-40B4-BE49-F238E27FC236}">
                <a16:creationId xmlns:a16="http://schemas.microsoft.com/office/drawing/2014/main" id="{058BE2E0-B0E7-83A5-5A5F-C78887F688D9}"/>
              </a:ext>
            </a:extLst>
          </p:cNvPr>
          <p:cNvGrpSpPr/>
          <p:nvPr/>
        </p:nvGrpSpPr>
        <p:grpSpPr>
          <a:xfrm>
            <a:off x="407199" y="1034719"/>
            <a:ext cx="4314825" cy="3942742"/>
            <a:chOff x="407199" y="1034719"/>
            <a:chExt cx="4314825" cy="3942742"/>
          </a:xfrm>
        </p:grpSpPr>
        <p:pic>
          <p:nvPicPr>
            <p:cNvPr id="4" name="Graphic 3">
              <a:extLst>
                <a:ext uri="{FF2B5EF4-FFF2-40B4-BE49-F238E27FC236}">
                  <a16:creationId xmlns:a16="http://schemas.microsoft.com/office/drawing/2014/main" id="{29E1B366-FFCB-1D9F-F8A2-730A35D881DC}"/>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5616" b="18421"/>
            <a:stretch/>
          </p:blipFill>
          <p:spPr>
            <a:xfrm>
              <a:off x="407199" y="1280160"/>
              <a:ext cx="4314825" cy="3697301"/>
            </a:xfrm>
            <a:prstGeom prst="rect">
              <a:avLst/>
            </a:prstGeom>
          </p:spPr>
        </p:pic>
        <p:sp>
          <p:nvSpPr>
            <p:cNvPr id="29" name="Google Shape;436;p52">
              <a:extLst>
                <a:ext uri="{FF2B5EF4-FFF2-40B4-BE49-F238E27FC236}">
                  <a16:creationId xmlns:a16="http://schemas.microsoft.com/office/drawing/2014/main" id="{E577626D-C73C-2102-C02F-42298613D2DD}"/>
                </a:ext>
              </a:extLst>
            </p:cNvPr>
            <p:cNvSpPr/>
            <p:nvPr/>
          </p:nvSpPr>
          <p:spPr>
            <a:xfrm>
              <a:off x="913144" y="1034719"/>
              <a:ext cx="1018260" cy="703791"/>
            </a:xfrm>
            <a:prstGeom prst="cloud">
              <a:avLst/>
            </a:prstGeom>
            <a:solidFill>
              <a:srgbClr val="2F58A6"/>
            </a:solidFill>
            <a:ln>
              <a:noFill/>
            </a:ln>
          </p:spPr>
          <p:txBody>
            <a:bodyPr spcFirstLastPara="1" wrap="square" lIns="68569" tIns="34275" rIns="68569" bIns="34275" anchor="ctr" anchorCtr="0">
              <a:noAutofit/>
            </a:bodyPr>
            <a:lstStyle/>
            <a:p>
              <a:pPr algn="ctr"/>
              <a:r>
                <a:rPr lang="en-US" sz="1050" dirty="0">
                  <a:solidFill>
                    <a:schemeClr val="lt1"/>
                  </a:solidFill>
                  <a:latin typeface="Arial" panose="020B0604020202020204" pitchFamily="34" charset="0"/>
                  <a:ea typeface="Proxima Nova"/>
                  <a:cs typeface="Arial" panose="020B0604020202020204" pitchFamily="34" charset="0"/>
                  <a:sym typeface="Proxima Nova"/>
                </a:rPr>
                <a:t>Manual Tests</a:t>
              </a:r>
              <a:endParaRPr sz="1050" dirty="0">
                <a:latin typeface="Arial" panose="020B0604020202020204" pitchFamily="34" charset="0"/>
                <a:ea typeface="Proxima Nova"/>
                <a:cs typeface="Arial" panose="020B0604020202020204" pitchFamily="34" charset="0"/>
                <a:sym typeface="Proxima Nova"/>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3">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3">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3">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3">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83">
                                            <p:txEl>
                                              <p:pRg st="5" end="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83">
                                            <p:txEl>
                                              <p:pRg st="6" end="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395"/>
        <p:cNvGrpSpPr/>
        <p:nvPr/>
      </p:nvGrpSpPr>
      <p:grpSpPr>
        <a:xfrm>
          <a:off x="0" y="0"/>
          <a:ext cx="0" cy="0"/>
          <a:chOff x="0" y="0"/>
          <a:chExt cx="0" cy="0"/>
        </a:xfrm>
      </p:grpSpPr>
      <p:sp>
        <p:nvSpPr>
          <p:cNvPr id="397" name="Google Shape;397;p51"/>
          <p:cNvSpPr txBox="1">
            <a:spLocks noGrp="1"/>
          </p:cNvSpPr>
          <p:nvPr>
            <p:ph type="title"/>
          </p:nvPr>
        </p:nvSpPr>
        <p:spPr>
          <a:xfrm>
            <a:off x="613700" y="659244"/>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1800"/>
            </a:pPr>
            <a:r>
              <a:rPr lang="en-US" dirty="0">
                <a:latin typeface="Helvetica Neue"/>
                <a:ea typeface="Helvetica Neue"/>
                <a:cs typeface="Helvetica Neue"/>
                <a:sym typeface="Helvetica Neue"/>
              </a:rPr>
              <a:t>Middle Layer Testing</a:t>
            </a:r>
            <a:endParaRPr dirty="0">
              <a:latin typeface="Helvetica Neue"/>
              <a:ea typeface="Helvetica Neue"/>
              <a:cs typeface="Helvetica Neue"/>
              <a:sym typeface="Helvetica Neue"/>
            </a:endParaRPr>
          </a:p>
        </p:txBody>
      </p:sp>
      <p:sp>
        <p:nvSpPr>
          <p:cNvPr id="398" name="Google Shape;398;p51"/>
          <p:cNvSpPr txBox="1">
            <a:spLocks noGrp="1"/>
          </p:cNvSpPr>
          <p:nvPr>
            <p:ph type="sldNum" idx="12"/>
          </p:nvPr>
        </p:nvSpPr>
        <p:spPr>
          <a:xfrm>
            <a:off x="8556784" y="4749851"/>
            <a:ext cx="548775" cy="393525"/>
          </a:xfrm>
          <a:prstGeom prst="rect">
            <a:avLst/>
          </a:prstGeom>
          <a:noFill/>
          <a:ln>
            <a:noFill/>
          </a:ln>
        </p:spPr>
        <p:txBody>
          <a:bodyPr spcFirstLastPara="1" wrap="square" lIns="68569" tIns="34275" rIns="68569" bIns="34275" anchor="ctr" anchorCtr="0">
            <a:noAutofit/>
          </a:bodyPr>
          <a:lstStyle/>
          <a:p>
            <a:pPr>
              <a:buSzPts val="1700"/>
            </a:pPr>
            <a:fld id="{00000000-1234-1234-1234-123412341234}" type="slidenum">
              <a:rPr lang="en-US">
                <a:solidFill>
                  <a:srgbClr val="000000"/>
                </a:solidFill>
              </a:rPr>
              <a:pPr>
                <a:buSzPts val="1700"/>
              </a:pPr>
              <a:t>41</a:t>
            </a:fld>
            <a:endParaRPr sz="1275" dirty="0"/>
          </a:p>
        </p:txBody>
      </p:sp>
      <p:sp>
        <p:nvSpPr>
          <p:cNvPr id="411" name="Google Shape;411;p51"/>
          <p:cNvSpPr txBox="1"/>
          <p:nvPr/>
        </p:nvSpPr>
        <p:spPr>
          <a:xfrm>
            <a:off x="5020473" y="1044769"/>
            <a:ext cx="3846600" cy="3670205"/>
          </a:xfrm>
          <a:prstGeom prst="rect">
            <a:avLst/>
          </a:prstGeom>
          <a:noFill/>
          <a:ln>
            <a:noFill/>
          </a:ln>
        </p:spPr>
        <p:txBody>
          <a:bodyPr spcFirstLastPara="1" wrap="square" lIns="68569" tIns="34275" rIns="68569" bIns="34275" anchor="t" anchorCtr="0">
            <a:spAutoFit/>
          </a:bodyPr>
          <a:lstStyle>
            <a:defPPr marR="0" lvl="0" algn="l" rtl="0">
              <a:lnSpc>
                <a:spcPct val="100000"/>
              </a:lnSpc>
              <a:spcBef>
                <a:spcPts val="0"/>
              </a:spcBef>
              <a:spcAft>
                <a:spcPts val="0"/>
              </a:spcAft>
            </a:defPPr>
            <a:lvl1pPr marL="342900" indent="-247650">
              <a:lnSpc>
                <a:spcPct val="150000"/>
              </a:lnSpc>
              <a:buSzPts val="1600"/>
              <a:buFont typeface="Proxima Nova"/>
              <a:buChar char="●"/>
              <a:defRPr sz="1200">
                <a:latin typeface="+mn-lt"/>
                <a:ea typeface="Proxima Nova"/>
                <a:cs typeface="Proxima Nova"/>
              </a:defRPr>
            </a:lvl1pPr>
          </a:lstStyle>
          <a:p>
            <a:r>
              <a:rPr lang="en-US" dirty="0">
                <a:cs typeface="Arial" panose="020B0604020202020204" pitchFamily="34" charset="0"/>
                <a:sym typeface="Proxima Nova"/>
              </a:rPr>
              <a:t>Together called service/API layer tests, also termed as “middleware layer”.</a:t>
            </a:r>
            <a:endParaRPr dirty="0">
              <a:cs typeface="Arial" panose="020B0604020202020204" pitchFamily="34" charset="0"/>
              <a:sym typeface="Proxima Nova"/>
            </a:endParaRPr>
          </a:p>
          <a:p>
            <a:r>
              <a:rPr lang="en-US" dirty="0">
                <a:cs typeface="Arial" panose="020B0604020202020204" pitchFamily="34" charset="0"/>
                <a:sym typeface="Proxima Nova"/>
              </a:rPr>
              <a:t>Component Tests: Look at individual components. Validates the functionality is working as expected with other components.</a:t>
            </a:r>
            <a:endParaRPr dirty="0">
              <a:cs typeface="Arial" panose="020B0604020202020204" pitchFamily="34" charset="0"/>
              <a:sym typeface="Proxima Nova"/>
            </a:endParaRPr>
          </a:p>
          <a:p>
            <a:r>
              <a:rPr lang="en-US" dirty="0">
                <a:cs typeface="Arial" panose="020B0604020202020204" pitchFamily="34" charset="0"/>
                <a:sym typeface="Proxima Nova"/>
              </a:rPr>
              <a:t>Integration Tests: Targets modules/features that integrate directly with other dependencies outside the application. Can be used as gating/staging from preprod to prod, etc.</a:t>
            </a:r>
            <a:endParaRPr dirty="0">
              <a:cs typeface="Arial" panose="020B0604020202020204" pitchFamily="34" charset="0"/>
              <a:sym typeface="Proxima Nova"/>
            </a:endParaRPr>
          </a:p>
          <a:p>
            <a:r>
              <a:rPr lang="en-US" dirty="0">
                <a:cs typeface="Arial" panose="020B0604020202020204" pitchFamily="34" charset="0"/>
                <a:sym typeface="Proxima Nova"/>
              </a:rPr>
              <a:t>System Integration Tests: Large scale integration suite testing end-to-end workflows. Often coordinated across teams and unique to your application or system.</a:t>
            </a:r>
            <a:endParaRPr dirty="0">
              <a:cs typeface="Arial" panose="020B0604020202020204" pitchFamily="34" charset="0"/>
              <a:sym typeface="Proxima Nova"/>
            </a:endParaRPr>
          </a:p>
        </p:txBody>
      </p:sp>
      <p:grpSp>
        <p:nvGrpSpPr>
          <p:cNvPr id="3" name="Group 2">
            <a:extLst>
              <a:ext uri="{FF2B5EF4-FFF2-40B4-BE49-F238E27FC236}">
                <a16:creationId xmlns:a16="http://schemas.microsoft.com/office/drawing/2014/main" id="{413C0662-35CF-EB9B-FFBA-664D09AF06D3}"/>
              </a:ext>
            </a:extLst>
          </p:cNvPr>
          <p:cNvGrpSpPr/>
          <p:nvPr/>
        </p:nvGrpSpPr>
        <p:grpSpPr>
          <a:xfrm>
            <a:off x="226926" y="3144582"/>
            <a:ext cx="547599" cy="1094519"/>
            <a:chOff x="226926" y="3144582"/>
            <a:chExt cx="547599" cy="1094519"/>
          </a:xfrm>
        </p:grpSpPr>
        <p:sp>
          <p:nvSpPr>
            <p:cNvPr id="25" name="Arrow: Right 24">
              <a:extLst>
                <a:ext uri="{FF2B5EF4-FFF2-40B4-BE49-F238E27FC236}">
                  <a16:creationId xmlns:a16="http://schemas.microsoft.com/office/drawing/2014/main" id="{50056A83-A9E8-6013-C49E-EAA0EEE40E6A}"/>
                </a:ext>
              </a:extLst>
            </p:cNvPr>
            <p:cNvSpPr/>
            <p:nvPr/>
          </p:nvSpPr>
          <p:spPr>
            <a:xfrm>
              <a:off x="226926" y="3144582"/>
              <a:ext cx="506742" cy="25100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Arrow: Right 25">
              <a:extLst>
                <a:ext uri="{FF2B5EF4-FFF2-40B4-BE49-F238E27FC236}">
                  <a16:creationId xmlns:a16="http://schemas.microsoft.com/office/drawing/2014/main" id="{CC2BD04D-EC3F-A276-E33D-D1CBAA7E6344}"/>
                </a:ext>
              </a:extLst>
            </p:cNvPr>
            <p:cNvSpPr/>
            <p:nvPr/>
          </p:nvSpPr>
          <p:spPr>
            <a:xfrm>
              <a:off x="267783" y="3988098"/>
              <a:ext cx="506742" cy="25100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 name="Group 1">
            <a:extLst>
              <a:ext uri="{FF2B5EF4-FFF2-40B4-BE49-F238E27FC236}">
                <a16:creationId xmlns:a16="http://schemas.microsoft.com/office/drawing/2014/main" id="{5AFDE284-6646-5851-4C03-9B0D897289F9}"/>
              </a:ext>
            </a:extLst>
          </p:cNvPr>
          <p:cNvGrpSpPr/>
          <p:nvPr/>
        </p:nvGrpSpPr>
        <p:grpSpPr>
          <a:xfrm>
            <a:off x="425487" y="1068925"/>
            <a:ext cx="4314825" cy="4013692"/>
            <a:chOff x="425487" y="1068925"/>
            <a:chExt cx="4314825" cy="4013692"/>
          </a:xfrm>
        </p:grpSpPr>
        <p:pic>
          <p:nvPicPr>
            <p:cNvPr id="24" name="Graphic 23">
              <a:extLst>
                <a:ext uri="{FF2B5EF4-FFF2-40B4-BE49-F238E27FC236}">
                  <a16:creationId xmlns:a16="http://schemas.microsoft.com/office/drawing/2014/main" id="{8EECAB60-2340-D4F0-E8F3-745FE80F71C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5616" b="18421"/>
            <a:stretch/>
          </p:blipFill>
          <p:spPr>
            <a:xfrm>
              <a:off x="425487" y="1385316"/>
              <a:ext cx="4314825" cy="3697301"/>
            </a:xfrm>
            <a:prstGeom prst="rect">
              <a:avLst/>
            </a:prstGeom>
          </p:spPr>
        </p:pic>
        <p:sp>
          <p:nvSpPr>
            <p:cNvPr id="27" name="Google Shape;436;p52">
              <a:extLst>
                <a:ext uri="{FF2B5EF4-FFF2-40B4-BE49-F238E27FC236}">
                  <a16:creationId xmlns:a16="http://schemas.microsoft.com/office/drawing/2014/main" id="{0DAD9BEE-800D-9F20-63FE-AF3F240B1C54}"/>
                </a:ext>
              </a:extLst>
            </p:cNvPr>
            <p:cNvSpPr/>
            <p:nvPr/>
          </p:nvSpPr>
          <p:spPr>
            <a:xfrm>
              <a:off x="986296" y="1068925"/>
              <a:ext cx="1097638" cy="758655"/>
            </a:xfrm>
            <a:prstGeom prst="cloud">
              <a:avLst/>
            </a:prstGeom>
            <a:solidFill>
              <a:srgbClr val="2F58A6"/>
            </a:solidFill>
            <a:ln>
              <a:noFill/>
            </a:ln>
          </p:spPr>
          <p:txBody>
            <a:bodyPr spcFirstLastPara="1" wrap="square" lIns="68569" tIns="34275" rIns="68569" bIns="34275" anchor="ctr" anchorCtr="0">
              <a:noAutofit/>
            </a:bodyPr>
            <a:lstStyle/>
            <a:p>
              <a:pPr algn="ctr"/>
              <a:r>
                <a:rPr lang="en-US" sz="1050" dirty="0">
                  <a:solidFill>
                    <a:schemeClr val="lt1"/>
                  </a:solidFill>
                  <a:latin typeface="Arial" panose="020B0604020202020204" pitchFamily="34" charset="0"/>
                  <a:ea typeface="Proxima Nova"/>
                  <a:cs typeface="Arial" panose="020B0604020202020204" pitchFamily="34" charset="0"/>
                  <a:sym typeface="Proxima Nova"/>
                </a:rPr>
                <a:t>Manual Tests</a:t>
              </a:r>
              <a:endParaRPr sz="1050" dirty="0">
                <a:latin typeface="Arial" panose="020B0604020202020204" pitchFamily="34" charset="0"/>
                <a:ea typeface="Proxima Nova"/>
                <a:cs typeface="Arial" panose="020B0604020202020204" pitchFamily="34" charset="0"/>
                <a:sym typeface="Proxima Nova"/>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1">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1">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11">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1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1"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421"/>
        <p:cNvGrpSpPr/>
        <p:nvPr/>
      </p:nvGrpSpPr>
      <p:grpSpPr>
        <a:xfrm>
          <a:off x="0" y="0"/>
          <a:ext cx="0" cy="0"/>
          <a:chOff x="0" y="0"/>
          <a:chExt cx="0" cy="0"/>
        </a:xfrm>
      </p:grpSpPr>
      <p:sp>
        <p:nvSpPr>
          <p:cNvPr id="423" name="Google Shape;423;p52"/>
          <p:cNvSpPr txBox="1">
            <a:spLocks noGrp="1"/>
          </p:cNvSpPr>
          <p:nvPr>
            <p:ph type="title"/>
          </p:nvPr>
        </p:nvSpPr>
        <p:spPr>
          <a:xfrm>
            <a:off x="613700" y="663369"/>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1800"/>
            </a:pPr>
            <a:r>
              <a:rPr lang="en-US" dirty="0">
                <a:latin typeface="Helvetica Neue"/>
                <a:ea typeface="Helvetica Neue"/>
                <a:cs typeface="Helvetica Neue"/>
                <a:sym typeface="Helvetica Neue"/>
              </a:rPr>
              <a:t>Acceptance Testing</a:t>
            </a:r>
            <a:endParaRPr dirty="0">
              <a:latin typeface="Helvetica Neue"/>
              <a:ea typeface="Helvetica Neue"/>
              <a:cs typeface="Helvetica Neue"/>
              <a:sym typeface="Helvetica Neue"/>
            </a:endParaRPr>
          </a:p>
        </p:txBody>
      </p:sp>
      <p:sp>
        <p:nvSpPr>
          <p:cNvPr id="424" name="Google Shape;424;p52"/>
          <p:cNvSpPr txBox="1">
            <a:spLocks noGrp="1"/>
          </p:cNvSpPr>
          <p:nvPr>
            <p:ph type="sldNum" idx="12"/>
          </p:nvPr>
        </p:nvSpPr>
        <p:spPr>
          <a:xfrm>
            <a:off x="8556784" y="4749851"/>
            <a:ext cx="548775" cy="393525"/>
          </a:xfrm>
          <a:prstGeom prst="rect">
            <a:avLst/>
          </a:prstGeom>
          <a:noFill/>
          <a:ln>
            <a:noFill/>
          </a:ln>
        </p:spPr>
        <p:txBody>
          <a:bodyPr spcFirstLastPara="1" wrap="square" lIns="68569" tIns="34275" rIns="68569" bIns="34275" anchor="ctr" anchorCtr="0">
            <a:noAutofit/>
          </a:bodyPr>
          <a:lstStyle/>
          <a:p>
            <a:pPr>
              <a:buSzPts val="1700"/>
            </a:pPr>
            <a:fld id="{00000000-1234-1234-1234-123412341234}" type="slidenum">
              <a:rPr lang="en-US">
                <a:solidFill>
                  <a:srgbClr val="000000"/>
                </a:solidFill>
              </a:rPr>
              <a:pPr>
                <a:buSzPts val="1700"/>
              </a:pPr>
              <a:t>42</a:t>
            </a:fld>
            <a:endParaRPr sz="1275" dirty="0"/>
          </a:p>
        </p:txBody>
      </p:sp>
      <p:sp>
        <p:nvSpPr>
          <p:cNvPr id="437" name="Google Shape;437;p52"/>
          <p:cNvSpPr txBox="1"/>
          <p:nvPr/>
        </p:nvSpPr>
        <p:spPr>
          <a:xfrm>
            <a:off x="5036820" y="973353"/>
            <a:ext cx="4003358" cy="1177215"/>
          </a:xfrm>
          <a:prstGeom prst="rect">
            <a:avLst/>
          </a:prstGeom>
          <a:noFill/>
          <a:ln>
            <a:noFill/>
          </a:ln>
        </p:spPr>
        <p:txBody>
          <a:bodyPr spcFirstLastPara="1" wrap="square" lIns="68569" tIns="34275" rIns="68569" bIns="34275" anchor="t" anchorCtr="0">
            <a:spAutoFit/>
          </a:bodyPr>
          <a:lstStyle/>
          <a:p>
            <a:pPr>
              <a:lnSpc>
                <a:spcPct val="150000"/>
              </a:lnSpc>
            </a:pPr>
            <a:endParaRPr sz="1200" dirty="0">
              <a:latin typeface="Helvetica Neue Light"/>
              <a:ea typeface="Helvetica Neue Light"/>
              <a:cs typeface="Helvetica Neue Light"/>
              <a:sym typeface="Helvetica Neue Light"/>
            </a:endParaRPr>
          </a:p>
          <a:p>
            <a:pPr>
              <a:lnSpc>
                <a:spcPct val="150000"/>
              </a:lnSpc>
            </a:pPr>
            <a:endParaRPr sz="1200" dirty="0">
              <a:latin typeface="Helvetica Neue Light"/>
              <a:ea typeface="Helvetica Neue Light"/>
              <a:cs typeface="Helvetica Neue Light"/>
              <a:sym typeface="Helvetica Neue Light"/>
            </a:endParaRPr>
          </a:p>
          <a:p>
            <a:pPr>
              <a:lnSpc>
                <a:spcPct val="150000"/>
              </a:lnSpc>
            </a:pPr>
            <a:endParaRPr sz="1200" dirty="0">
              <a:latin typeface="Helvetica Neue Light"/>
              <a:ea typeface="Helvetica Neue Light"/>
              <a:cs typeface="Helvetica Neue Light"/>
              <a:sym typeface="Helvetica Neue Light"/>
            </a:endParaRPr>
          </a:p>
          <a:p>
            <a:pPr marL="214313" indent="-138113">
              <a:lnSpc>
                <a:spcPct val="150000"/>
              </a:lnSpc>
              <a:buSzPts val="1600"/>
            </a:pPr>
            <a:endParaRPr sz="1200" dirty="0">
              <a:latin typeface="Helvetica Neue Light"/>
              <a:ea typeface="Helvetica Neue Light"/>
              <a:cs typeface="Helvetica Neue Light"/>
              <a:sym typeface="Helvetica Neue Light"/>
            </a:endParaRPr>
          </a:p>
        </p:txBody>
      </p:sp>
      <p:sp>
        <p:nvSpPr>
          <p:cNvPr id="438" name="Google Shape;438;p52"/>
          <p:cNvSpPr txBox="1"/>
          <p:nvPr/>
        </p:nvSpPr>
        <p:spPr>
          <a:xfrm>
            <a:off x="4926371" y="1095273"/>
            <a:ext cx="4003425" cy="2839208"/>
          </a:xfrm>
          <a:prstGeom prst="rect">
            <a:avLst/>
          </a:prstGeom>
          <a:noFill/>
          <a:ln>
            <a:noFill/>
          </a:ln>
        </p:spPr>
        <p:txBody>
          <a:bodyPr spcFirstLastPara="1" wrap="square" lIns="68569" tIns="34275" rIns="68569" bIns="34275" anchor="t" anchorCtr="0">
            <a:spAutoFit/>
          </a:bodyPr>
          <a:lstStyle>
            <a:defPPr marR="0" lvl="0" algn="l" rtl="0">
              <a:lnSpc>
                <a:spcPct val="100000"/>
              </a:lnSpc>
              <a:spcBef>
                <a:spcPts val="0"/>
              </a:spcBef>
              <a:spcAft>
                <a:spcPts val="0"/>
              </a:spcAft>
              <a:defRPr/>
            </a:defPPr>
            <a:lvl1pPr marL="342900" indent="-247650">
              <a:lnSpc>
                <a:spcPct val="150000"/>
              </a:lnSpc>
              <a:buSzPts val="1600"/>
              <a:buFont typeface="Proxima Nova"/>
              <a:buChar char="●"/>
              <a:defRPr sz="1200">
                <a:latin typeface="+mn-lt"/>
                <a:ea typeface="Proxima Nova"/>
                <a:cs typeface="Proxima Nova"/>
              </a:defRPr>
            </a:lvl1pPr>
          </a:lstStyle>
          <a:p>
            <a:r>
              <a:rPr lang="en-US" dirty="0">
                <a:cs typeface="Arial" panose="020B0604020202020204" pitchFamily="34" charset="0"/>
                <a:sym typeface="Proxima Nova"/>
              </a:rPr>
              <a:t>Similar to integration tests in the sense that they test different parts of the application</a:t>
            </a:r>
            <a:endParaRPr dirty="0">
              <a:cs typeface="Arial" panose="020B0604020202020204" pitchFamily="34" charset="0"/>
              <a:sym typeface="Proxima Nova"/>
            </a:endParaRPr>
          </a:p>
          <a:p>
            <a:r>
              <a:rPr lang="en-US" dirty="0">
                <a:cs typeface="Arial" panose="020B0604020202020204" pitchFamily="34" charset="0"/>
                <a:sym typeface="Proxima Nova"/>
              </a:rPr>
              <a:t>End-to-end testing</a:t>
            </a:r>
            <a:endParaRPr dirty="0">
              <a:cs typeface="Arial" panose="020B0604020202020204" pitchFamily="34" charset="0"/>
              <a:sym typeface="Proxima Nova"/>
            </a:endParaRPr>
          </a:p>
          <a:p>
            <a:r>
              <a:rPr lang="en-US" dirty="0">
                <a:cs typeface="Arial" panose="020B0604020202020204" pitchFamily="34" charset="0"/>
                <a:sym typeface="Proxima Nova"/>
              </a:rPr>
              <a:t>Ensure high-level functionality works as expected or described and delivers business value</a:t>
            </a:r>
            <a:endParaRPr dirty="0">
              <a:cs typeface="Arial" panose="020B0604020202020204" pitchFamily="34" charset="0"/>
              <a:sym typeface="Proxima Nova"/>
            </a:endParaRPr>
          </a:p>
          <a:p>
            <a:r>
              <a:rPr lang="en-US" dirty="0">
                <a:cs typeface="Arial" panose="020B0604020202020204" pitchFamily="34" charset="0"/>
                <a:sym typeface="Proxima Nova"/>
              </a:rPr>
              <a:t>Maximum scope such as -  logics, UI workflows, navigation, transitions, calculations, buttons, layouts etc.</a:t>
            </a:r>
            <a:endParaRPr dirty="0">
              <a:cs typeface="Arial" panose="020B0604020202020204" pitchFamily="34" charset="0"/>
              <a:sym typeface="Proxima Nova"/>
            </a:endParaRPr>
          </a:p>
          <a:p>
            <a:r>
              <a:rPr lang="en-US" dirty="0">
                <a:cs typeface="Arial" panose="020B0604020202020204" pitchFamily="34" charset="0"/>
                <a:sym typeface="Proxima Nova"/>
              </a:rPr>
              <a:t>Can be brittle or flaky and a lot of work to maintain</a:t>
            </a:r>
            <a:endParaRPr dirty="0">
              <a:cs typeface="Arial" panose="020B0604020202020204" pitchFamily="34" charset="0"/>
              <a:sym typeface="Proxima Nova"/>
            </a:endParaRPr>
          </a:p>
          <a:p>
            <a:r>
              <a:rPr lang="en-US" dirty="0">
                <a:cs typeface="Arial" panose="020B0604020202020204" pitchFamily="34" charset="0"/>
                <a:sym typeface="Proxima Nova"/>
              </a:rPr>
              <a:t>Test critical workflows</a:t>
            </a:r>
            <a:endParaRPr dirty="0">
              <a:cs typeface="Arial" panose="020B0604020202020204" pitchFamily="34" charset="0"/>
              <a:sym typeface="Proxima Nova"/>
            </a:endParaRPr>
          </a:p>
        </p:txBody>
      </p:sp>
      <p:grpSp>
        <p:nvGrpSpPr>
          <p:cNvPr id="2" name="Group 1">
            <a:extLst>
              <a:ext uri="{FF2B5EF4-FFF2-40B4-BE49-F238E27FC236}">
                <a16:creationId xmlns:a16="http://schemas.microsoft.com/office/drawing/2014/main" id="{803C3DCE-CBE6-43C5-5171-6A84A4F0127E}"/>
              </a:ext>
            </a:extLst>
          </p:cNvPr>
          <p:cNvGrpSpPr/>
          <p:nvPr/>
        </p:nvGrpSpPr>
        <p:grpSpPr>
          <a:xfrm>
            <a:off x="334047" y="956155"/>
            <a:ext cx="4314825" cy="4108174"/>
            <a:chOff x="334047" y="956155"/>
            <a:chExt cx="4314825" cy="4108174"/>
          </a:xfrm>
        </p:grpSpPr>
        <p:pic>
          <p:nvPicPr>
            <p:cNvPr id="26" name="Graphic 25">
              <a:extLst>
                <a:ext uri="{FF2B5EF4-FFF2-40B4-BE49-F238E27FC236}">
                  <a16:creationId xmlns:a16="http://schemas.microsoft.com/office/drawing/2014/main" id="{8C9D5447-F1C7-6BD5-8824-A18E6589A5B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5616" b="18421"/>
            <a:stretch/>
          </p:blipFill>
          <p:spPr>
            <a:xfrm>
              <a:off x="334047" y="1367028"/>
              <a:ext cx="4314825" cy="3697301"/>
            </a:xfrm>
            <a:prstGeom prst="rect">
              <a:avLst/>
            </a:prstGeom>
          </p:spPr>
        </p:pic>
        <p:sp>
          <p:nvSpPr>
            <p:cNvPr id="25" name="Google Shape;436;p52">
              <a:extLst>
                <a:ext uri="{FF2B5EF4-FFF2-40B4-BE49-F238E27FC236}">
                  <a16:creationId xmlns:a16="http://schemas.microsoft.com/office/drawing/2014/main" id="{E426EA24-B3AB-47A9-488E-FEBF0D43E0C7}"/>
                </a:ext>
              </a:extLst>
            </p:cNvPr>
            <p:cNvSpPr/>
            <p:nvPr/>
          </p:nvSpPr>
          <p:spPr>
            <a:xfrm>
              <a:off x="730264" y="956155"/>
              <a:ext cx="1188918" cy="821745"/>
            </a:xfrm>
            <a:prstGeom prst="cloud">
              <a:avLst/>
            </a:prstGeom>
            <a:solidFill>
              <a:srgbClr val="2F58A6"/>
            </a:solidFill>
            <a:ln>
              <a:noFill/>
            </a:ln>
          </p:spPr>
          <p:txBody>
            <a:bodyPr spcFirstLastPara="1" wrap="square" lIns="68569" tIns="34275" rIns="68569" bIns="34275" anchor="ctr" anchorCtr="0">
              <a:noAutofit/>
            </a:bodyPr>
            <a:lstStyle/>
            <a:p>
              <a:pPr algn="ctr"/>
              <a:r>
                <a:rPr lang="en-US" sz="1050" dirty="0">
                  <a:solidFill>
                    <a:schemeClr val="lt1"/>
                  </a:solidFill>
                  <a:latin typeface="Arial" panose="020B0604020202020204" pitchFamily="34" charset="0"/>
                  <a:ea typeface="Proxima Nova"/>
                  <a:cs typeface="Arial" panose="020B0604020202020204" pitchFamily="34" charset="0"/>
                  <a:sym typeface="Proxima Nova"/>
                </a:rPr>
                <a:t>Manual Tests</a:t>
              </a:r>
              <a:endParaRPr sz="1050" dirty="0">
                <a:latin typeface="Arial" panose="020B0604020202020204" pitchFamily="34" charset="0"/>
                <a:ea typeface="Proxima Nova"/>
                <a:cs typeface="Arial" panose="020B0604020202020204" pitchFamily="34" charset="0"/>
                <a:sym typeface="Proxima Nova"/>
              </a:endParaRPr>
            </a:p>
          </p:txBody>
        </p:sp>
      </p:grpSp>
      <p:sp>
        <p:nvSpPr>
          <p:cNvPr id="27" name="Arrow: Right 26">
            <a:extLst>
              <a:ext uri="{FF2B5EF4-FFF2-40B4-BE49-F238E27FC236}">
                <a16:creationId xmlns:a16="http://schemas.microsoft.com/office/drawing/2014/main" id="{DB5B0ACF-6878-958E-75B4-FC6757C77FE9}"/>
              </a:ext>
            </a:extLst>
          </p:cNvPr>
          <p:cNvSpPr/>
          <p:nvPr/>
        </p:nvSpPr>
        <p:spPr>
          <a:xfrm>
            <a:off x="106958" y="2150568"/>
            <a:ext cx="506742" cy="25100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8">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38">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38">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8">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38">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3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build="p"/>
      <p:bldP spid="2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448"/>
        <p:cNvGrpSpPr/>
        <p:nvPr/>
      </p:nvGrpSpPr>
      <p:grpSpPr>
        <a:xfrm>
          <a:off x="0" y="0"/>
          <a:ext cx="0" cy="0"/>
          <a:chOff x="0" y="0"/>
          <a:chExt cx="0" cy="0"/>
        </a:xfrm>
      </p:grpSpPr>
      <p:sp>
        <p:nvSpPr>
          <p:cNvPr id="449" name="Google Shape;449;p53"/>
          <p:cNvSpPr txBox="1">
            <a:spLocks noGrp="1"/>
          </p:cNvSpPr>
          <p:nvPr>
            <p:ph type="title"/>
          </p:nvPr>
        </p:nvSpPr>
        <p:spPr>
          <a:xfrm>
            <a:off x="613700" y="659244"/>
            <a:ext cx="8253225" cy="314100"/>
          </a:xfrm>
          <a:prstGeom prst="rect">
            <a:avLst/>
          </a:prstGeom>
          <a:noFill/>
          <a:ln>
            <a:noFill/>
          </a:ln>
        </p:spPr>
        <p:txBody>
          <a:bodyPr spcFirstLastPara="1" wrap="square" lIns="68569" tIns="34275" rIns="68569" bIns="34275" anchor="ctr" anchorCtr="0">
            <a:noAutofit/>
          </a:bodyPr>
          <a:lstStyle/>
          <a:p>
            <a:pPr>
              <a:buClr>
                <a:srgbClr val="233445"/>
              </a:buClr>
              <a:buSzPts val="1800"/>
            </a:pPr>
            <a:r>
              <a:rPr lang="en-US" dirty="0">
                <a:latin typeface="Helvetica Neue"/>
                <a:ea typeface="Helvetica Neue"/>
                <a:cs typeface="Helvetica Neue"/>
                <a:sym typeface="Helvetica Neue"/>
              </a:rPr>
              <a:t>Manual Testing</a:t>
            </a:r>
            <a:endParaRPr dirty="0">
              <a:latin typeface="Helvetica Neue"/>
              <a:ea typeface="Helvetica Neue"/>
              <a:cs typeface="Helvetica Neue"/>
              <a:sym typeface="Helvetica Neue"/>
            </a:endParaRPr>
          </a:p>
        </p:txBody>
      </p:sp>
      <p:sp>
        <p:nvSpPr>
          <p:cNvPr id="450" name="Google Shape;450;p53"/>
          <p:cNvSpPr txBox="1">
            <a:spLocks noGrp="1"/>
          </p:cNvSpPr>
          <p:nvPr>
            <p:ph type="sldNum" idx="12"/>
          </p:nvPr>
        </p:nvSpPr>
        <p:spPr>
          <a:xfrm>
            <a:off x="8556784" y="4749851"/>
            <a:ext cx="548775" cy="393525"/>
          </a:xfrm>
          <a:prstGeom prst="rect">
            <a:avLst/>
          </a:prstGeom>
          <a:noFill/>
          <a:ln>
            <a:noFill/>
          </a:ln>
        </p:spPr>
        <p:txBody>
          <a:bodyPr spcFirstLastPara="1" wrap="square" lIns="68569" tIns="34275" rIns="68569" bIns="34275" anchor="ctr" anchorCtr="0">
            <a:noAutofit/>
          </a:bodyPr>
          <a:lstStyle/>
          <a:p>
            <a:pPr>
              <a:buSzPts val="1700"/>
            </a:pPr>
            <a:fld id="{00000000-1234-1234-1234-123412341234}" type="slidenum">
              <a:rPr lang="en-US">
                <a:solidFill>
                  <a:srgbClr val="000000"/>
                </a:solidFill>
              </a:rPr>
              <a:pPr>
                <a:buSzPts val="1700"/>
              </a:pPr>
              <a:t>43</a:t>
            </a:fld>
            <a:endParaRPr sz="1275" dirty="0"/>
          </a:p>
        </p:txBody>
      </p:sp>
      <p:sp>
        <p:nvSpPr>
          <p:cNvPr id="463" name="Google Shape;463;p53"/>
          <p:cNvSpPr txBox="1"/>
          <p:nvPr/>
        </p:nvSpPr>
        <p:spPr>
          <a:xfrm>
            <a:off x="4902188" y="1218305"/>
            <a:ext cx="3817125" cy="3393206"/>
          </a:xfrm>
          <a:prstGeom prst="rect">
            <a:avLst/>
          </a:prstGeom>
          <a:noFill/>
          <a:ln>
            <a:noFill/>
          </a:ln>
        </p:spPr>
        <p:txBody>
          <a:bodyPr spcFirstLastPara="1" wrap="square" lIns="68569" tIns="34275" rIns="68569" bIns="34275" anchor="t" anchorCtr="0">
            <a:spAutoFit/>
          </a:bodyPr>
          <a:lstStyle/>
          <a:p>
            <a:pPr marL="342900" indent="-247650">
              <a:lnSpc>
                <a:spcPct val="200000"/>
              </a:lnSpc>
              <a:buSzPts val="1600"/>
              <a:buFont typeface="Proxima Nova"/>
              <a:buChar char="●"/>
            </a:pPr>
            <a:r>
              <a:rPr lang="en-US" sz="1200" dirty="0">
                <a:latin typeface="+mn-lt"/>
                <a:ea typeface="Proxima Nova"/>
                <a:cs typeface="Arial" panose="020B0604020202020204" pitchFamily="34" charset="0"/>
                <a:sym typeface="Proxima Nova"/>
              </a:rPr>
              <a:t>Not regression testing</a:t>
            </a:r>
            <a:endParaRPr sz="1200" dirty="0">
              <a:latin typeface="+mn-lt"/>
              <a:ea typeface="Proxima Nova"/>
              <a:cs typeface="Arial" panose="020B0604020202020204" pitchFamily="34" charset="0"/>
              <a:sym typeface="Proxima Nova"/>
            </a:endParaRPr>
          </a:p>
          <a:p>
            <a:pPr marL="342900" indent="-247650">
              <a:lnSpc>
                <a:spcPct val="200000"/>
              </a:lnSpc>
              <a:buSzPts val="1600"/>
              <a:buFont typeface="Proxima Nova"/>
              <a:buChar char="●"/>
            </a:pPr>
            <a:r>
              <a:rPr lang="en-US" sz="1200" dirty="0">
                <a:latin typeface="+mn-lt"/>
                <a:ea typeface="Proxima Nova"/>
                <a:cs typeface="Arial" panose="020B0604020202020204" pitchFamily="34" charset="0"/>
                <a:sym typeface="Proxima Nova"/>
              </a:rPr>
              <a:t>Experience + creativity</a:t>
            </a:r>
            <a:endParaRPr sz="1200" dirty="0">
              <a:latin typeface="+mn-lt"/>
              <a:ea typeface="Proxima Nova"/>
              <a:cs typeface="Arial" panose="020B0604020202020204" pitchFamily="34" charset="0"/>
              <a:sym typeface="Proxima Nova"/>
            </a:endParaRPr>
          </a:p>
          <a:p>
            <a:pPr marL="342900" indent="-247650">
              <a:lnSpc>
                <a:spcPct val="200000"/>
              </a:lnSpc>
              <a:buSzPts val="1600"/>
              <a:buFont typeface="Proxima Nova"/>
              <a:buChar char="●"/>
            </a:pPr>
            <a:r>
              <a:rPr lang="en-US" sz="1200" dirty="0">
                <a:latin typeface="+mn-lt"/>
                <a:ea typeface="Proxima Nova"/>
                <a:cs typeface="Arial" panose="020B0604020202020204" pitchFamily="34" charset="0"/>
                <a:sym typeface="Proxima Nova"/>
              </a:rPr>
              <a:t>Learn about the system, discover defects &amp; improve automated testing</a:t>
            </a:r>
            <a:endParaRPr sz="1200" dirty="0">
              <a:latin typeface="+mn-lt"/>
              <a:ea typeface="Proxima Nova"/>
              <a:cs typeface="Arial" panose="020B0604020202020204" pitchFamily="34" charset="0"/>
              <a:sym typeface="Proxima Nova"/>
            </a:endParaRPr>
          </a:p>
          <a:p>
            <a:pPr marL="342900" indent="-247650">
              <a:lnSpc>
                <a:spcPct val="200000"/>
              </a:lnSpc>
              <a:buSzPts val="1600"/>
              <a:buFont typeface="Proxima Nova"/>
              <a:buChar char="●"/>
            </a:pPr>
            <a:r>
              <a:rPr lang="en-US" sz="1200" dirty="0">
                <a:latin typeface="+mn-lt"/>
                <a:ea typeface="Proxima Nova"/>
                <a:cs typeface="Arial" panose="020B0604020202020204" pitchFamily="34" charset="0"/>
                <a:sym typeface="Proxima Nova"/>
              </a:rPr>
              <a:t>Can be based on missions/test charter/persona</a:t>
            </a:r>
            <a:endParaRPr sz="1200" dirty="0">
              <a:latin typeface="+mn-lt"/>
              <a:ea typeface="Proxima Nova"/>
              <a:cs typeface="Arial" panose="020B0604020202020204" pitchFamily="34" charset="0"/>
              <a:sym typeface="Proxima Nova"/>
            </a:endParaRPr>
          </a:p>
          <a:p>
            <a:pPr marL="342900" indent="-247650">
              <a:lnSpc>
                <a:spcPct val="200000"/>
              </a:lnSpc>
              <a:buSzPts val="1600"/>
              <a:buFont typeface="Proxima Nova"/>
              <a:buChar char="●"/>
            </a:pPr>
            <a:r>
              <a:rPr lang="en-US" sz="1200" dirty="0">
                <a:latin typeface="+mn-lt"/>
                <a:ea typeface="Proxima Nova"/>
                <a:cs typeface="Arial" panose="020B0604020202020204" pitchFamily="34" charset="0"/>
                <a:sym typeface="Proxima Nova"/>
              </a:rPr>
              <a:t>Covers scenarios which can’t be automated or are too complex to automate</a:t>
            </a:r>
            <a:endParaRPr sz="1200" dirty="0">
              <a:latin typeface="+mn-lt"/>
              <a:ea typeface="Proxima Nova"/>
              <a:cs typeface="Arial" panose="020B0604020202020204" pitchFamily="34" charset="0"/>
              <a:sym typeface="Proxima Nova"/>
            </a:endParaRPr>
          </a:p>
          <a:p>
            <a:pPr marL="342900" indent="-247650">
              <a:lnSpc>
                <a:spcPct val="200000"/>
              </a:lnSpc>
              <a:buSzPts val="1600"/>
              <a:buFont typeface="Proxima Nova"/>
              <a:buChar char="●"/>
            </a:pPr>
            <a:r>
              <a:rPr lang="en-US" sz="1200" dirty="0">
                <a:latin typeface="+mn-lt"/>
                <a:ea typeface="Proxima Nova"/>
                <a:cs typeface="Arial" panose="020B0604020202020204" pitchFamily="34" charset="0"/>
                <a:sym typeface="Proxima Nova"/>
              </a:rPr>
              <a:t>Edge Scenarios for mission critical applications to prevent failure</a:t>
            </a:r>
            <a:endParaRPr sz="1200" dirty="0">
              <a:latin typeface="+mn-lt"/>
              <a:ea typeface="Proxima Nova"/>
              <a:cs typeface="Arial" panose="020B0604020202020204" pitchFamily="34" charset="0"/>
              <a:sym typeface="Proxima Nova"/>
            </a:endParaRPr>
          </a:p>
        </p:txBody>
      </p:sp>
      <p:grpSp>
        <p:nvGrpSpPr>
          <p:cNvPr id="2" name="Group 1">
            <a:extLst>
              <a:ext uri="{FF2B5EF4-FFF2-40B4-BE49-F238E27FC236}">
                <a16:creationId xmlns:a16="http://schemas.microsoft.com/office/drawing/2014/main" id="{9C656ADB-0E4F-5472-DC02-5959D288D49E}"/>
              </a:ext>
            </a:extLst>
          </p:cNvPr>
          <p:cNvGrpSpPr/>
          <p:nvPr/>
        </p:nvGrpSpPr>
        <p:grpSpPr>
          <a:xfrm>
            <a:off x="334047" y="956155"/>
            <a:ext cx="4314825" cy="4108174"/>
            <a:chOff x="334047" y="956155"/>
            <a:chExt cx="4314825" cy="4108174"/>
          </a:xfrm>
        </p:grpSpPr>
        <p:pic>
          <p:nvPicPr>
            <p:cNvPr id="17" name="Graphic 16">
              <a:extLst>
                <a:ext uri="{FF2B5EF4-FFF2-40B4-BE49-F238E27FC236}">
                  <a16:creationId xmlns:a16="http://schemas.microsoft.com/office/drawing/2014/main" id="{04F4BA66-CB11-AD9B-23C5-1BDBB122CEC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5616" b="18421"/>
            <a:stretch/>
          </p:blipFill>
          <p:spPr>
            <a:xfrm>
              <a:off x="334047" y="1367028"/>
              <a:ext cx="4314825" cy="3697301"/>
            </a:xfrm>
            <a:prstGeom prst="rect">
              <a:avLst/>
            </a:prstGeom>
          </p:spPr>
        </p:pic>
        <p:sp>
          <p:nvSpPr>
            <p:cNvPr id="18" name="Google Shape;436;p52">
              <a:extLst>
                <a:ext uri="{FF2B5EF4-FFF2-40B4-BE49-F238E27FC236}">
                  <a16:creationId xmlns:a16="http://schemas.microsoft.com/office/drawing/2014/main" id="{498FC193-5D4B-9FE4-D28D-C79CFAC127AE}"/>
                </a:ext>
              </a:extLst>
            </p:cNvPr>
            <p:cNvSpPr/>
            <p:nvPr/>
          </p:nvSpPr>
          <p:spPr>
            <a:xfrm>
              <a:off x="730264" y="956155"/>
              <a:ext cx="1188918" cy="821745"/>
            </a:xfrm>
            <a:prstGeom prst="cloud">
              <a:avLst/>
            </a:prstGeom>
            <a:solidFill>
              <a:srgbClr val="2F58A6"/>
            </a:solidFill>
            <a:ln>
              <a:noFill/>
            </a:ln>
          </p:spPr>
          <p:txBody>
            <a:bodyPr spcFirstLastPara="1" wrap="square" lIns="68569" tIns="34275" rIns="68569" bIns="34275" anchor="ctr" anchorCtr="0">
              <a:noAutofit/>
            </a:bodyPr>
            <a:lstStyle/>
            <a:p>
              <a:pPr algn="ctr"/>
              <a:r>
                <a:rPr lang="en-US" sz="1050" dirty="0">
                  <a:solidFill>
                    <a:schemeClr val="lt1"/>
                  </a:solidFill>
                  <a:latin typeface="Arial" panose="020B0604020202020204" pitchFamily="34" charset="0"/>
                  <a:ea typeface="Proxima Nova"/>
                  <a:cs typeface="Arial" panose="020B0604020202020204" pitchFamily="34" charset="0"/>
                  <a:sym typeface="Proxima Nova"/>
                </a:rPr>
                <a:t>Manual Tests</a:t>
              </a:r>
              <a:endParaRPr sz="1050" dirty="0">
                <a:latin typeface="Arial" panose="020B0604020202020204" pitchFamily="34" charset="0"/>
                <a:ea typeface="Proxima Nova"/>
                <a:cs typeface="Arial" panose="020B0604020202020204" pitchFamily="34" charset="0"/>
                <a:sym typeface="Proxima Nova"/>
              </a:endParaRPr>
            </a:p>
          </p:txBody>
        </p:sp>
      </p:grpSp>
      <p:sp>
        <p:nvSpPr>
          <p:cNvPr id="19" name="Arrow: Right 18">
            <a:extLst>
              <a:ext uri="{FF2B5EF4-FFF2-40B4-BE49-F238E27FC236}">
                <a16:creationId xmlns:a16="http://schemas.microsoft.com/office/drawing/2014/main" id="{66338AD5-E1BB-9446-A527-ADE8569D1C90}"/>
              </a:ext>
            </a:extLst>
          </p:cNvPr>
          <p:cNvSpPr/>
          <p:nvPr/>
        </p:nvSpPr>
        <p:spPr>
          <a:xfrm>
            <a:off x="171316" y="1304747"/>
            <a:ext cx="506742" cy="25100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6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63">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63">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63">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63">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6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3" grpId="0" build="p"/>
      <p:bldP spid="19"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pic>
        <p:nvPicPr>
          <p:cNvPr id="390" name="Google Shape;390;p53"/>
          <p:cNvPicPr preferRelativeResize="0"/>
          <p:nvPr/>
        </p:nvPicPr>
        <p:blipFill>
          <a:blip r:embed="rId3">
            <a:alphaModFix amt="37000"/>
          </a:blip>
          <a:stretch>
            <a:fillRect/>
          </a:stretch>
        </p:blipFill>
        <p:spPr>
          <a:xfrm>
            <a:off x="1369354" y="158875"/>
            <a:ext cx="5070393" cy="5143501"/>
          </a:xfrm>
          <a:prstGeom prst="rect">
            <a:avLst/>
          </a:prstGeom>
          <a:noFill/>
          <a:ln>
            <a:noFill/>
          </a:ln>
        </p:spPr>
      </p:pic>
      <p:sp>
        <p:nvSpPr>
          <p:cNvPr id="391" name="Google Shape;391;p53"/>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2" name="Google Shape;392;p53"/>
          <p:cNvGrpSpPr/>
          <p:nvPr/>
        </p:nvGrpSpPr>
        <p:grpSpPr>
          <a:xfrm>
            <a:off x="4491032" y="1168875"/>
            <a:ext cx="4689327" cy="4991730"/>
            <a:chOff x="3458352" y="512656"/>
            <a:chExt cx="5769350" cy="5951747"/>
          </a:xfrm>
        </p:grpSpPr>
        <p:pic>
          <p:nvPicPr>
            <p:cNvPr id="393" name="Google Shape;393;p53"/>
            <p:cNvPicPr preferRelativeResize="0"/>
            <p:nvPr/>
          </p:nvPicPr>
          <p:blipFill>
            <a:blip r:embed="rId4">
              <a:alphaModFix amt="64000"/>
            </a:blip>
            <a:stretch>
              <a:fillRect/>
            </a:stretch>
          </p:blipFill>
          <p:spPr>
            <a:xfrm rot="-5400000">
              <a:off x="4778715" y="2015416"/>
              <a:ext cx="5951747" cy="2946227"/>
            </a:xfrm>
            <a:prstGeom prst="rect">
              <a:avLst/>
            </a:prstGeom>
            <a:noFill/>
            <a:ln>
              <a:noFill/>
            </a:ln>
          </p:spPr>
        </p:pic>
        <p:pic>
          <p:nvPicPr>
            <p:cNvPr id="394" name="Google Shape;394;p53"/>
            <p:cNvPicPr preferRelativeResize="0"/>
            <p:nvPr/>
          </p:nvPicPr>
          <p:blipFill>
            <a:blip r:embed="rId4">
              <a:alphaModFix amt="64000"/>
            </a:blip>
            <a:stretch>
              <a:fillRect/>
            </a:stretch>
          </p:blipFill>
          <p:spPr>
            <a:xfrm rot="-5400000">
              <a:off x="1955593" y="2015416"/>
              <a:ext cx="5951747" cy="2946227"/>
            </a:xfrm>
            <a:prstGeom prst="rect">
              <a:avLst/>
            </a:prstGeom>
            <a:noFill/>
            <a:ln>
              <a:noFill/>
            </a:ln>
          </p:spPr>
        </p:pic>
      </p:grpSp>
      <p:sp>
        <p:nvSpPr>
          <p:cNvPr id="395" name="Google Shape;395;p53"/>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53"/>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53"/>
          <p:cNvSpPr txBox="1">
            <a:spLocks noGrp="1"/>
          </p:cNvSpPr>
          <p:nvPr>
            <p:ph type="title" idx="4294967295"/>
          </p:nvPr>
        </p:nvSpPr>
        <p:spPr>
          <a:xfrm>
            <a:off x="1038750" y="2333550"/>
            <a:ext cx="7164000" cy="2555400"/>
          </a:xfrm>
          <a:prstGeom prst="rect">
            <a:avLst/>
          </a:prstGeom>
        </p:spPr>
        <p:txBody>
          <a:bodyPr spcFirstLastPara="1" wrap="square" lIns="91400" tIns="91400" rIns="91400" bIns="91400" anchor="t" anchorCtr="0">
            <a:noAutofit/>
          </a:bodyPr>
          <a:lstStyle/>
          <a:p>
            <a:pPr marL="0" lvl="0" indent="0" algn="l" rtl="0">
              <a:lnSpc>
                <a:spcPct val="83000"/>
              </a:lnSpc>
              <a:spcBef>
                <a:spcPts val="0"/>
              </a:spcBef>
              <a:spcAft>
                <a:spcPts val="0"/>
              </a:spcAft>
              <a:buNone/>
            </a:pPr>
            <a:r>
              <a:rPr lang="en" sz="4500" dirty="0"/>
              <a:t>Thank you!</a:t>
            </a:r>
            <a:endParaRPr sz="4500" dirty="0"/>
          </a:p>
          <a:p>
            <a:pPr marL="0" lvl="0" indent="0" algn="l" rtl="0">
              <a:lnSpc>
                <a:spcPct val="83000"/>
              </a:lnSpc>
              <a:spcBef>
                <a:spcPts val="0"/>
              </a:spcBef>
              <a:spcAft>
                <a:spcPts val="0"/>
              </a:spcAft>
              <a:buNone/>
            </a:pPr>
            <a:endParaRPr sz="1900" dirty="0"/>
          </a:p>
          <a:p>
            <a:pPr marL="0" lvl="0" indent="0" algn="l" rtl="0">
              <a:lnSpc>
                <a:spcPct val="115000"/>
              </a:lnSpc>
              <a:spcBef>
                <a:spcPts val="0"/>
              </a:spcBef>
              <a:spcAft>
                <a:spcPts val="0"/>
              </a:spcAft>
              <a:buNone/>
            </a:pPr>
            <a:r>
              <a:rPr lang="en" sz="1900" dirty="0"/>
              <a:t>If you have additional questions, </a:t>
            </a:r>
            <a:br>
              <a:rPr lang="en" sz="1900" dirty="0"/>
            </a:br>
            <a:r>
              <a:rPr lang="en" sz="1900" dirty="0"/>
              <a:t>please reach out to me at:</a:t>
            </a:r>
            <a:endParaRPr sz="1900" dirty="0"/>
          </a:p>
          <a:p>
            <a:pPr marL="0" lvl="0" indent="0" algn="l" rtl="0">
              <a:lnSpc>
                <a:spcPct val="115000"/>
              </a:lnSpc>
              <a:spcBef>
                <a:spcPts val="0"/>
              </a:spcBef>
              <a:spcAft>
                <a:spcPts val="0"/>
              </a:spcAft>
              <a:buNone/>
            </a:pPr>
            <a:r>
              <a:rPr lang="en" sz="1900"/>
              <a:t>asanders@gamuttechnologysvcs.com</a:t>
            </a:r>
            <a:endParaRPr sz="1900" dirty="0"/>
          </a:p>
        </p:txBody>
      </p:sp>
      <p:pic>
        <p:nvPicPr>
          <p:cNvPr id="398" name="Google Shape;398;p53"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399" name="Google Shape;399;p53"/>
          <p:cNvPicPr preferRelativeResize="0"/>
          <p:nvPr/>
        </p:nvPicPr>
        <p:blipFill>
          <a:blip r:embed="rId6">
            <a:alphaModFix/>
          </a:blip>
          <a:stretch>
            <a:fillRect/>
          </a:stretch>
        </p:blipFill>
        <p:spPr>
          <a:xfrm>
            <a:off x="9306200" y="4594175"/>
            <a:ext cx="1355525" cy="294675"/>
          </a:xfrm>
          <a:prstGeom prst="rect">
            <a:avLst/>
          </a:prstGeom>
          <a:noFill/>
          <a:ln>
            <a:noFill/>
          </a:ln>
        </p:spPr>
      </p:pic>
      <p:pic>
        <p:nvPicPr>
          <p:cNvPr id="2" name="Google Shape;399;p53">
            <a:extLst>
              <a:ext uri="{FF2B5EF4-FFF2-40B4-BE49-F238E27FC236}">
                <a16:creationId xmlns:a16="http://schemas.microsoft.com/office/drawing/2014/main" id="{B00FD85A-1D5D-D680-8104-4A431BFAB5CE}"/>
              </a:ext>
            </a:extLst>
          </p:cNvPr>
          <p:cNvPicPr preferRelativeResize="0"/>
          <p:nvPr/>
        </p:nvPicPr>
        <p:blipFill>
          <a:blip r:embed="rId6">
            <a:alphaModFix/>
          </a:blip>
          <a:stretch>
            <a:fillRect/>
          </a:stretch>
        </p:blipFill>
        <p:spPr>
          <a:xfrm>
            <a:off x="7349581" y="4623672"/>
            <a:ext cx="1355525" cy="294675"/>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03F93-6B0F-D8D4-02E0-EF203DF5DFA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8CD04CC-F97A-5C50-6455-29A478C945EE}"/>
              </a:ext>
            </a:extLst>
          </p:cNvPr>
          <p:cNvSpPr>
            <a:spLocks noGrp="1"/>
          </p:cNvSpPr>
          <p:nvPr>
            <p:ph type="title"/>
          </p:nvPr>
        </p:nvSpPr>
        <p:spPr/>
        <p:txBody>
          <a:bodyPr/>
          <a:lstStyle/>
          <a:p>
            <a:r>
              <a:rPr lang="en-US" dirty="0"/>
              <a:t>Learning Objectives</a:t>
            </a:r>
          </a:p>
        </p:txBody>
      </p:sp>
    </p:spTree>
    <p:extLst>
      <p:ext uri="{BB962C8B-B14F-4D97-AF65-F5344CB8AC3E}">
        <p14:creationId xmlns:p14="http://schemas.microsoft.com/office/powerpoint/2010/main" val="1134488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9530C6E7-0F45-FEF2-854A-9480D37284FC}"/>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14CFE4EF-664C-84E6-F9DB-C19C581547E3}"/>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36F3A2BC-F6EA-5986-8A03-FDC955875C25}"/>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Understand key concepts and considerations when leveraging </a:t>
            </a:r>
            <a:r>
              <a:rPr lang="en-US" sz="1500" dirty="0" err="1">
                <a:solidFill>
                  <a:srgbClr val="404040"/>
                </a:solidFill>
              </a:rPr>
              <a:t>DevSecOps</a:t>
            </a:r>
            <a:r>
              <a:rPr lang="en-US" sz="1500" dirty="0">
                <a:solidFill>
                  <a:srgbClr val="404040"/>
                </a:solidFill>
              </a:rPr>
              <a:t> in an Agile environment to help “shift security left” during software development</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Construct and prioritize a threat model for an application being developed and use that threat model as a planning tool to guide each phase of the SDLC in a security-minded manner</a:t>
            </a:r>
            <a:endParaRPr lang="en-US"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Speak to the value of </a:t>
            </a:r>
            <a:r>
              <a:rPr lang="en-US" sz="1500" dirty="0" err="1">
                <a:solidFill>
                  <a:srgbClr val="404040"/>
                </a:solidFill>
              </a:rPr>
              <a:t>DevSecOps</a:t>
            </a:r>
            <a:r>
              <a:rPr lang="en-US" sz="1500" dirty="0">
                <a:solidFill>
                  <a:srgbClr val="404040"/>
                </a:solidFill>
              </a:rPr>
              <a:t> and its consistent application as a set of standards and best practices</a:t>
            </a:r>
            <a:endParaRPr sz="1500" b="0" i="0" u="none" strike="noStrike" cap="none" dirty="0">
              <a:solidFill>
                <a:srgbClr val="404040"/>
              </a:solidFill>
              <a:latin typeface="Arial"/>
              <a:ea typeface="Arial"/>
              <a:cs typeface="Arial"/>
              <a:sym typeface="Arial"/>
            </a:endParaRPr>
          </a:p>
        </p:txBody>
      </p:sp>
      <p:sp>
        <p:nvSpPr>
          <p:cNvPr id="2" name="Google Shape;238;p2">
            <a:extLst>
              <a:ext uri="{FF2B5EF4-FFF2-40B4-BE49-F238E27FC236}">
                <a16:creationId xmlns:a16="http://schemas.microsoft.com/office/drawing/2014/main" id="{96E29015-B947-594D-C8B2-B3D023B5004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pic>
        <p:nvPicPr>
          <p:cNvPr id="4" name="Graphic 3" descr="Bullseye with solid fill">
            <a:extLst>
              <a:ext uri="{FF2B5EF4-FFF2-40B4-BE49-F238E27FC236}">
                <a16:creationId xmlns:a16="http://schemas.microsoft.com/office/drawing/2014/main" id="{F2F67736-B4A5-5D66-F526-4085D893D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988367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49">
          <a:extLst>
            <a:ext uri="{FF2B5EF4-FFF2-40B4-BE49-F238E27FC236}">
              <a16:creationId xmlns:a16="http://schemas.microsoft.com/office/drawing/2014/main" id="{6EE52BE1-61F1-C189-FA39-84EEB2D3C7E4}"/>
            </a:ext>
          </a:extLst>
        </p:cNvPr>
        <p:cNvGrpSpPr/>
        <p:nvPr/>
      </p:nvGrpSpPr>
      <p:grpSpPr>
        <a:xfrm>
          <a:off x="0" y="0"/>
          <a:ext cx="0" cy="0"/>
          <a:chOff x="0" y="0"/>
          <a:chExt cx="0" cy="0"/>
        </a:xfrm>
      </p:grpSpPr>
      <p:sp>
        <p:nvSpPr>
          <p:cNvPr id="350" name="Google Shape;350;p11">
            <a:extLst>
              <a:ext uri="{FF2B5EF4-FFF2-40B4-BE49-F238E27FC236}">
                <a16:creationId xmlns:a16="http://schemas.microsoft.com/office/drawing/2014/main" id="{CFAB9CC1-B7DE-2BB0-987E-354A00AC1724}"/>
              </a:ext>
            </a:extLst>
          </p:cNvPr>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dirty="0">
                <a:solidFill>
                  <a:schemeClr val="dk1"/>
                </a:solidFill>
              </a:rPr>
              <a:t>Learning Objectives</a:t>
            </a:r>
            <a:endParaRPr dirty="0">
              <a:solidFill>
                <a:schemeClr val="dk1"/>
              </a:solidFill>
            </a:endParaRPr>
          </a:p>
        </p:txBody>
      </p:sp>
      <p:sp>
        <p:nvSpPr>
          <p:cNvPr id="351" name="Google Shape;351;p11">
            <a:extLst>
              <a:ext uri="{FF2B5EF4-FFF2-40B4-BE49-F238E27FC236}">
                <a16:creationId xmlns:a16="http://schemas.microsoft.com/office/drawing/2014/main" id="{E3D5A860-8C23-9533-1805-E5942E6B94DE}"/>
              </a:ext>
            </a:extLst>
          </p:cNvPr>
          <p:cNvSpPr txBox="1"/>
          <p:nvPr/>
        </p:nvSpPr>
        <p:spPr>
          <a:xfrm>
            <a:off x="613700" y="1208125"/>
            <a:ext cx="7086600" cy="3221100"/>
          </a:xfrm>
          <a:prstGeom prst="rect">
            <a:avLst/>
          </a:prstGeom>
          <a:noFill/>
          <a:ln>
            <a:noFill/>
          </a:ln>
        </p:spPr>
        <p:txBody>
          <a:bodyPr spcFirstLastPara="1" wrap="square" lIns="91400" tIns="91400" rIns="91400" bIns="91400" anchor="t" anchorCtr="0">
            <a:noAutofit/>
          </a:bodyPr>
          <a:lstStyle/>
          <a:p>
            <a:pPr marL="457200" lvl="0" indent="-323850">
              <a:lnSpc>
                <a:spcPct val="150000"/>
              </a:lnSpc>
              <a:buClr>
                <a:srgbClr val="404040"/>
              </a:buClr>
              <a:buSzPts val="1500"/>
              <a:buFont typeface="Arial"/>
              <a:buChar char="●"/>
            </a:pPr>
            <a:r>
              <a:rPr lang="en-US" sz="1500" dirty="0">
                <a:solidFill>
                  <a:srgbClr val="404040"/>
                </a:solidFill>
              </a:rPr>
              <a:t>Monitor, patch and scan for vulnerabilities in the Operating System (Windows and Linx) and underlying Infrastructure configuration</a:t>
            </a:r>
            <a:endParaRPr sz="1500" b="0" i="0" u="none" strike="noStrike" cap="none" dirty="0">
              <a:solidFill>
                <a:srgbClr val="404040"/>
              </a:solidFill>
              <a:latin typeface="Arial"/>
              <a:ea typeface="Arial"/>
              <a:cs typeface="Arial"/>
              <a:sym typeface="Arial"/>
            </a:endParaRPr>
          </a:p>
          <a:p>
            <a:pPr marL="457200" lvl="0" indent="-323850">
              <a:lnSpc>
                <a:spcPct val="150000"/>
              </a:lnSpc>
              <a:spcBef>
                <a:spcPts val="1000"/>
              </a:spcBef>
              <a:buClr>
                <a:srgbClr val="404040"/>
              </a:buClr>
              <a:buSzPts val="1500"/>
              <a:buFont typeface="Arial"/>
              <a:buChar char="●"/>
            </a:pPr>
            <a:r>
              <a:rPr lang="en-US" sz="1500" dirty="0">
                <a:solidFill>
                  <a:srgbClr val="404040"/>
                </a:solidFill>
              </a:rPr>
              <a:t>Effectively utilize GitLab for Source Code Management and CI/CD, including:</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Understanding and navigating practical activities related to source code repositories in GitLab</a:t>
            </a:r>
          </a:p>
          <a:p>
            <a:pPr marL="914400" lvl="2" indent="-323850">
              <a:lnSpc>
                <a:spcPct val="150000"/>
              </a:lnSpc>
              <a:spcBef>
                <a:spcPts val="1000"/>
              </a:spcBef>
              <a:buClr>
                <a:srgbClr val="404040"/>
              </a:buClr>
              <a:buSzPts val="1500"/>
              <a:buFont typeface="Courier New" panose="02070309020205020404" pitchFamily="49" charset="0"/>
              <a:buChar char="o"/>
            </a:pPr>
            <a:r>
              <a:rPr lang="en-US" dirty="0">
                <a:solidFill>
                  <a:srgbClr val="404040"/>
                </a:solidFill>
              </a:rPr>
              <a:t>Effectively use Software Composition Analysis (SCA), Static Application Security Testing (SAST), and Dynamic Application Security Testing (DAST)</a:t>
            </a:r>
            <a:endParaRPr b="0" i="0" u="none" strike="noStrike" cap="none" dirty="0">
              <a:solidFill>
                <a:srgbClr val="404040"/>
              </a:solidFill>
              <a:sym typeface="Arial"/>
            </a:endParaRPr>
          </a:p>
        </p:txBody>
      </p:sp>
      <p:sp>
        <p:nvSpPr>
          <p:cNvPr id="2" name="Google Shape;238;p2">
            <a:extLst>
              <a:ext uri="{FF2B5EF4-FFF2-40B4-BE49-F238E27FC236}">
                <a16:creationId xmlns:a16="http://schemas.microsoft.com/office/drawing/2014/main" id="{18D23A69-FFC1-A32A-E886-60B7FFE5DA0A}"/>
              </a:ext>
            </a:extLst>
          </p:cNvPr>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7</a:t>
            </a:fld>
            <a:endParaRPr/>
          </a:p>
        </p:txBody>
      </p:sp>
      <p:pic>
        <p:nvPicPr>
          <p:cNvPr id="3" name="Graphic 2" descr="Bullseye with solid fill">
            <a:extLst>
              <a:ext uri="{FF2B5EF4-FFF2-40B4-BE49-F238E27FC236}">
                <a16:creationId xmlns:a16="http://schemas.microsoft.com/office/drawing/2014/main" id="{1FD15500-DC95-7BFD-C091-8FFB917BE5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42384" y="113975"/>
            <a:ext cx="914400" cy="914400"/>
          </a:xfrm>
          <a:prstGeom prst="rect">
            <a:avLst/>
          </a:prstGeom>
        </p:spPr>
      </p:pic>
    </p:spTree>
    <p:extLst>
      <p:ext uri="{BB962C8B-B14F-4D97-AF65-F5344CB8AC3E}">
        <p14:creationId xmlns:p14="http://schemas.microsoft.com/office/powerpoint/2010/main" val="3473178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4D34B-F4AF-B09C-DAFC-CD8C8654224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7B767A7-99B0-3D83-1DA0-B881DAF8ABDD}"/>
              </a:ext>
            </a:extLst>
          </p:cNvPr>
          <p:cNvSpPr>
            <a:spLocks noGrp="1"/>
          </p:cNvSpPr>
          <p:nvPr>
            <p:ph type="title"/>
          </p:nvPr>
        </p:nvSpPr>
        <p:spPr/>
        <p:txBody>
          <a:bodyPr/>
          <a:lstStyle/>
          <a:p>
            <a:r>
              <a:rPr lang="en-US" dirty="0"/>
              <a:t>Agile vs. Waterfall</a:t>
            </a:r>
          </a:p>
        </p:txBody>
      </p:sp>
    </p:spTree>
    <p:extLst>
      <p:ext uri="{BB962C8B-B14F-4D97-AF65-F5344CB8AC3E}">
        <p14:creationId xmlns:p14="http://schemas.microsoft.com/office/powerpoint/2010/main" val="21827084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sp>
        <p:nvSpPr>
          <p:cNvPr id="369" name="Google Shape;369;p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aterfall Software Development</a:t>
            </a:r>
            <a:endParaRPr/>
          </a:p>
        </p:txBody>
      </p:sp>
      <p:sp>
        <p:nvSpPr>
          <p:cNvPr id="370" name="Google Shape;370;p14"/>
          <p:cNvSpPr txBox="1">
            <a:spLocks noGrp="1"/>
          </p:cNvSpPr>
          <p:nvPr>
            <p:ph type="subTitle" idx="1"/>
          </p:nvPr>
        </p:nvSpPr>
        <p:spPr>
          <a:xfrm>
            <a:off x="613700" y="1028375"/>
            <a:ext cx="7625100" cy="340085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A sequential development process that flows like a waterfall through all phases of a project (requirements, design, implementation, testing, and deployment for example), with each phase completely wrapping up before the next phase begin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Key aspec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ajority of research done up fro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ore accurate time estimat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ore predictable release date</a:t>
            </a:r>
            <a:endParaRPr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Con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cess is brittle – can’t pivot easily in terms of changing requireme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Long lead times – difficult to respond to rapid business evolution</a:t>
            </a:r>
            <a:endParaRPr dirty="0"/>
          </a:p>
          <a:p>
            <a:pPr marL="514350" lvl="0" indent="-114300" algn="l" rtl="0">
              <a:lnSpc>
                <a:spcPct val="100000"/>
              </a:lnSpc>
              <a:spcBef>
                <a:spcPts val="0"/>
              </a:spcBef>
              <a:spcAft>
                <a:spcPts val="0"/>
              </a:spcAft>
              <a:buSzPts val="2700"/>
              <a:buFont typeface="Arial"/>
              <a:buNone/>
            </a:pPr>
            <a:endParaRPr dirty="0"/>
          </a:p>
          <a:p>
            <a:pPr marL="228600" lvl="0" indent="0" algn="l" rtl="0">
              <a:lnSpc>
                <a:spcPct val="100000"/>
              </a:lnSpc>
              <a:spcBef>
                <a:spcPts val="0"/>
              </a:spcBef>
              <a:spcAft>
                <a:spcPts val="0"/>
              </a:spcAft>
              <a:buSzPts val="2700"/>
              <a:buNone/>
            </a:pPr>
            <a:r>
              <a:rPr lang="en-US" dirty="0"/>
              <a:t>Tool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ommonly use Gantt charts (or something similar) to track projects, subtasks and dependencies</a:t>
            </a:r>
            <a:endParaRPr dirty="0"/>
          </a:p>
          <a:p>
            <a:pPr marL="514350" lvl="0" indent="-114300" algn="l" rtl="0">
              <a:lnSpc>
                <a:spcPct val="100000"/>
              </a:lnSpc>
              <a:spcBef>
                <a:spcPts val="0"/>
              </a:spcBef>
              <a:spcAft>
                <a:spcPts val="0"/>
              </a:spcAft>
              <a:buSzPts val="2700"/>
              <a:buFont typeface="Arial"/>
              <a:buNone/>
            </a:pPr>
            <a:endParaRPr dirty="0"/>
          </a:p>
        </p:txBody>
      </p:sp>
      <p:sp>
        <p:nvSpPr>
          <p:cNvPr id="371" name="Google Shape;371;p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0">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0">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0">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0">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70">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560</TotalTime>
  <Words>2221</Words>
  <Application>Microsoft Office PowerPoint</Application>
  <PresentationFormat>On-screen Show (16:9)</PresentationFormat>
  <Paragraphs>414</Paragraphs>
  <Slides>44</Slides>
  <Notes>43</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6" baseType="lpstr">
      <vt:lpstr>Helvetica Neue</vt:lpstr>
      <vt:lpstr>Arial</vt:lpstr>
      <vt:lpstr>Calibri</vt:lpstr>
      <vt:lpstr>Proxima Nova</vt:lpstr>
      <vt:lpstr>Courier New</vt:lpstr>
      <vt:lpstr>Trebuchet MS</vt:lpstr>
      <vt:lpstr>Tahoma</vt:lpstr>
      <vt:lpstr>Montserrat Medium</vt:lpstr>
      <vt:lpstr>Montserrat</vt:lpstr>
      <vt:lpstr>Helvetica Neue Light</vt:lpstr>
      <vt:lpstr>Pluralsight default theme</vt:lpstr>
      <vt:lpstr>think-cell Slide</vt:lpstr>
      <vt:lpstr> Welcome! Secure Agile</vt:lpstr>
      <vt:lpstr>Hello</vt:lpstr>
      <vt:lpstr>Agenda</vt:lpstr>
      <vt:lpstr>How We’re Going to Work Together</vt:lpstr>
      <vt:lpstr>Learning Objectives</vt:lpstr>
      <vt:lpstr>Learning Objectives</vt:lpstr>
      <vt:lpstr>Learning Objectives</vt:lpstr>
      <vt:lpstr>Agile vs. Waterfall</vt:lpstr>
      <vt:lpstr>Waterfall Software Development</vt:lpstr>
      <vt:lpstr>Typical Gantt Chart</vt:lpstr>
      <vt:lpstr>Agile Software Development</vt:lpstr>
      <vt:lpstr>The Agile Manifesto and its Origins</vt:lpstr>
      <vt:lpstr>Agile Values</vt:lpstr>
      <vt:lpstr>Key Elements of the Agile Approach</vt:lpstr>
      <vt:lpstr>Modern Approaches to Agile Software Development</vt:lpstr>
      <vt:lpstr>Diagram of Typical Scrum Sprint</vt:lpstr>
      <vt:lpstr>Scrum Roles</vt:lpstr>
      <vt:lpstr>Scrum Roles</vt:lpstr>
      <vt:lpstr>Scrum Roles</vt:lpstr>
      <vt:lpstr>Scrum Roles</vt:lpstr>
      <vt:lpstr>Planning with Security in Mind</vt:lpstr>
      <vt:lpstr>The Flat Backlog</vt:lpstr>
      <vt:lpstr>PowerPoint Presentation</vt:lpstr>
      <vt:lpstr>User Story Map – Prerequisites</vt:lpstr>
      <vt:lpstr>Anatomy Of A Map</vt:lpstr>
      <vt:lpstr>Anatomy Of A Map</vt:lpstr>
      <vt:lpstr>Anatomy Of A Map</vt:lpstr>
      <vt:lpstr>Anatomy Of A Map</vt:lpstr>
      <vt:lpstr>Release(s) from Story Map</vt:lpstr>
      <vt:lpstr>Sprint Planning with Security in Mind</vt:lpstr>
      <vt:lpstr>Sprint Planning with Security in Mind</vt:lpstr>
      <vt:lpstr>Sprint Planning with Security in Mind</vt:lpstr>
      <vt:lpstr>Sprint Planning with Security in Mind</vt:lpstr>
      <vt:lpstr>Sprint Planning with Security in Mind</vt:lpstr>
      <vt:lpstr>User Story Map – An Example</vt:lpstr>
      <vt:lpstr>LAB:</vt:lpstr>
      <vt:lpstr>Security Focused Testing</vt:lpstr>
      <vt:lpstr>Testing Pyramids</vt:lpstr>
      <vt:lpstr>Agile Testing Pyramid</vt:lpstr>
      <vt:lpstr>Unit Testing</vt:lpstr>
      <vt:lpstr>Middle Layer Testing</vt:lpstr>
      <vt:lpstr>Acceptance Testing</vt:lpstr>
      <vt:lpstr>Manual Testing</vt:lpstr>
      <vt:lpstr>Thank you!  If you have additional questions,  please reach out to me at: asanders@gamuttechnologysvcs.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n Sanders</dc:creator>
  <cp:lastModifiedBy>Allen Sanders</cp:lastModifiedBy>
  <cp:revision>337</cp:revision>
  <dcterms:modified xsi:type="dcterms:W3CDTF">2025-01-29T00:22:50Z</dcterms:modified>
</cp:coreProperties>
</file>